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8" r:id="rId4"/>
    <p:sldMasterId id="2147484115" r:id="rId5"/>
    <p:sldMasterId id="2147484151" r:id="rId6"/>
  </p:sldMasterIdLst>
  <p:notesMasterIdLst>
    <p:notesMasterId r:id="rId40"/>
  </p:notesMasterIdLst>
  <p:handoutMasterIdLst>
    <p:handoutMasterId r:id="rId41"/>
  </p:handoutMasterIdLst>
  <p:sldIdLst>
    <p:sldId id="256" r:id="rId7"/>
    <p:sldId id="269" r:id="rId8"/>
    <p:sldId id="3248" r:id="rId9"/>
    <p:sldId id="2992" r:id="rId10"/>
    <p:sldId id="3189" r:id="rId11"/>
    <p:sldId id="3190" r:id="rId12"/>
    <p:sldId id="3117" r:id="rId13"/>
    <p:sldId id="3235" r:id="rId14"/>
    <p:sldId id="3236" r:id="rId15"/>
    <p:sldId id="3214" r:id="rId16"/>
    <p:sldId id="3213" r:id="rId17"/>
    <p:sldId id="3203" r:id="rId18"/>
    <p:sldId id="3247" r:id="rId19"/>
    <p:sldId id="261" r:id="rId20"/>
    <p:sldId id="260" r:id="rId21"/>
    <p:sldId id="259" r:id="rId22"/>
    <p:sldId id="258" r:id="rId23"/>
    <p:sldId id="264" r:id="rId24"/>
    <p:sldId id="263" r:id="rId25"/>
    <p:sldId id="262" r:id="rId26"/>
    <p:sldId id="265" r:id="rId27"/>
    <p:sldId id="266" r:id="rId28"/>
    <p:sldId id="268" r:id="rId29"/>
    <p:sldId id="3249" r:id="rId30"/>
    <p:sldId id="3250" r:id="rId31"/>
    <p:sldId id="3251" r:id="rId32"/>
    <p:sldId id="3252" r:id="rId33"/>
    <p:sldId id="3253" r:id="rId34"/>
    <p:sldId id="3254" r:id="rId35"/>
    <p:sldId id="3255" r:id="rId36"/>
    <p:sldId id="267" r:id="rId37"/>
    <p:sldId id="3256" r:id="rId38"/>
    <p:sldId id="257" r:id="rId39"/>
  </p:sldIdLst>
  <p:sldSz cx="9144000" cy="5143500" type="screen16x9"/>
  <p:notesSz cx="6858000" cy="9144000"/>
  <p:defaultTextStyle>
    <a:defPPr>
      <a:defRPr lang="en-US"/>
    </a:defPPr>
    <a:lvl1pPr marL="0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618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234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855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470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091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709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325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2944" algn="l" defTabSz="9132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77BC190-6197-41CD-9578-2EC94CE82EF4}">
          <p14:sldIdLst>
            <p14:sldId id="256"/>
            <p14:sldId id="269"/>
            <p14:sldId id="3248"/>
            <p14:sldId id="2992"/>
            <p14:sldId id="3189"/>
            <p14:sldId id="3190"/>
            <p14:sldId id="3117"/>
            <p14:sldId id="3235"/>
            <p14:sldId id="3236"/>
            <p14:sldId id="3214"/>
            <p14:sldId id="3213"/>
            <p14:sldId id="3203"/>
            <p14:sldId id="3247"/>
            <p14:sldId id="261"/>
            <p14:sldId id="260"/>
            <p14:sldId id="259"/>
            <p14:sldId id="258"/>
            <p14:sldId id="264"/>
            <p14:sldId id="263"/>
            <p14:sldId id="262"/>
            <p14:sldId id="265"/>
            <p14:sldId id="266"/>
            <p14:sldId id="268"/>
            <p14:sldId id="3249"/>
            <p14:sldId id="3250"/>
            <p14:sldId id="3251"/>
            <p14:sldId id="3252"/>
            <p14:sldId id="3253"/>
            <p14:sldId id="3254"/>
            <p14:sldId id="3255"/>
            <p14:sldId id="267"/>
            <p14:sldId id="3256"/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kola" initials="N" lastIdx="37" clrIdx="0">
    <p:extLst>
      <p:ext uri="{19B8F6BF-5375-455C-9EA6-DF929625EA0E}">
        <p15:presenceInfo xmlns:p15="http://schemas.microsoft.com/office/powerpoint/2012/main" userId="S::Nikola.Jovanovic@ipsos.com::bad09d9d-44ae-471b-91d6-0f517ef6b15a" providerId="AD"/>
      </p:ext>
    </p:extLst>
  </p:cmAuthor>
  <p:cmAuthor id="2" name="Marija Vranjanac" initials="MV" lastIdx="27" clrIdx="1">
    <p:extLst>
      <p:ext uri="{19B8F6BF-5375-455C-9EA6-DF929625EA0E}">
        <p15:presenceInfo xmlns:p15="http://schemas.microsoft.com/office/powerpoint/2012/main" userId="S::Marija.Vranjanac@ipsos.com::c9feba15-7ead-4834-bc27-f2f294d49a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C82"/>
    <a:srgbClr val="418F47"/>
    <a:srgbClr val="001C54"/>
    <a:srgbClr val="9F1535"/>
    <a:srgbClr val="DA9E11"/>
    <a:srgbClr val="007681"/>
    <a:srgbClr val="E87722"/>
    <a:srgbClr val="222223"/>
    <a:srgbClr val="642C2C"/>
    <a:srgbClr val="5DC0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249" autoAdjust="0"/>
  </p:normalViewPr>
  <p:slideViewPr>
    <p:cSldViewPr>
      <p:cViewPr varScale="1">
        <p:scale>
          <a:sx n="95" d="100"/>
          <a:sy n="95" d="100"/>
        </p:scale>
        <p:origin x="648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632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2772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148272017837235E-3"/>
          <c:y val="0"/>
          <c:w val="0.99108138238573018"/>
          <c:h val="0.516751736142005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đani</c:v>
                </c:pt>
              </c:strCache>
            </c:strRef>
          </c:tx>
          <c:spPr>
            <a:solidFill>
              <a:srgbClr val="001C5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numFmt formatCode="0" sourceLinked="0"/>
            <c:spPr>
              <a:noFill/>
              <a:ln w="25335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P$1</c:f>
              <c:strCache>
                <c:ptCount val="15"/>
                <c:pt idx="0">
                  <c:v>Muški </c:v>
                </c:pt>
                <c:pt idx="1">
                  <c:v>Ženski</c:v>
                </c:pt>
                <c:pt idx="2">
                  <c:v>18-29</c:v>
                </c:pt>
                <c:pt idx="3">
                  <c:v>30-44</c:v>
                </c:pt>
                <c:pt idx="4">
                  <c:v>45-59</c:v>
                </c:pt>
                <c:pt idx="5">
                  <c:v>60+</c:v>
                </c:pt>
                <c:pt idx="6">
                  <c:v>Beograd</c:v>
                </c:pt>
                <c:pt idx="7">
                  <c:v>Vojvodina</c:v>
                </c:pt>
                <c:pt idx="8">
                  <c:v>Šumadija i Zapadna Srbija</c:v>
                </c:pt>
                <c:pt idx="9">
                  <c:v>Južna i Istočna Srbija</c:v>
                </c:pt>
                <c:pt idx="10">
                  <c:v>Urban </c:v>
                </c:pt>
                <c:pt idx="11">
                  <c:v>Rural</c:v>
                </c:pt>
                <c:pt idx="12">
                  <c:v>Osnovna i niže</c:v>
                </c:pt>
                <c:pt idx="13">
                  <c:v>Srednja</c:v>
                </c:pt>
                <c:pt idx="14">
                  <c:v>Viša, visoka </c:v>
                </c:pt>
              </c:strCache>
            </c:strRef>
          </c:cat>
          <c:val>
            <c:numRef>
              <c:f>Sheet1!$B$2:$P$2</c:f>
              <c:numCache>
                <c:formatCode>General</c:formatCode>
                <c:ptCount val="15"/>
                <c:pt idx="0">
                  <c:v>45.9</c:v>
                </c:pt>
                <c:pt idx="1">
                  <c:v>54.1</c:v>
                </c:pt>
                <c:pt idx="2">
                  <c:v>19</c:v>
                </c:pt>
                <c:pt idx="3">
                  <c:v>27</c:v>
                </c:pt>
                <c:pt idx="4">
                  <c:v>24.4</c:v>
                </c:pt>
                <c:pt idx="5">
                  <c:v>29.7</c:v>
                </c:pt>
                <c:pt idx="6">
                  <c:v>24</c:v>
                </c:pt>
                <c:pt idx="7">
                  <c:v>26.8</c:v>
                </c:pt>
                <c:pt idx="8">
                  <c:v>29</c:v>
                </c:pt>
                <c:pt idx="9">
                  <c:v>20.3</c:v>
                </c:pt>
                <c:pt idx="10">
                  <c:v>59.4</c:v>
                </c:pt>
                <c:pt idx="11">
                  <c:v>40.6</c:v>
                </c:pt>
                <c:pt idx="12">
                  <c:v>27.3</c:v>
                </c:pt>
                <c:pt idx="13">
                  <c:v>55.5</c:v>
                </c:pt>
                <c:pt idx="14">
                  <c:v>1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FE-4A3F-8BD1-CFCAA715DB5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1819776"/>
        <c:axId val="21821312"/>
      </c:barChart>
      <c:catAx>
        <c:axId val="21819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6334">
            <a:noFill/>
          </a:ln>
        </c:spPr>
        <c:txPr>
          <a:bodyPr rot="-540000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21821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821312"/>
        <c:scaling>
          <c:orientation val="minMax"/>
          <c:max val="1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819776"/>
        <c:crosses val="autoZero"/>
        <c:crossBetween val="between"/>
      </c:valAx>
      <c:spPr>
        <a:noFill/>
        <a:ln w="2533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9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148272017837235E-3"/>
          <c:y val="0"/>
          <c:w val="0.99108138238573018"/>
          <c:h val="0.684818833621407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rađani</c:v>
                </c:pt>
              </c:strCache>
            </c:strRef>
          </c:tx>
          <c:spPr>
            <a:solidFill>
              <a:srgbClr val="001C5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numFmt formatCode="0" sourceLinked="0"/>
            <c:spPr>
              <a:noFill/>
              <a:ln w="25335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O$1</c:f>
              <c:strCache>
                <c:ptCount val="14"/>
                <c:pt idx="0">
                  <c:v>Da</c:v>
                </c:pt>
                <c:pt idx="1">
                  <c:v>Ne</c:v>
                </c:pt>
                <c:pt idx="2">
                  <c:v>Mikro</c:v>
                </c:pt>
                <c:pt idx="3">
                  <c:v>Malo</c:v>
                </c:pt>
                <c:pt idx="4">
                  <c:v>Srednje+Veliko</c:v>
                </c:pt>
                <c:pt idx="5">
                  <c:v>0-10</c:v>
                </c:pt>
                <c:pt idx="6">
                  <c:v>11-50</c:v>
                </c:pt>
                <c:pt idx="7">
                  <c:v>51-250</c:v>
                </c:pt>
                <c:pt idx="8">
                  <c:v>250+</c:v>
                </c:pt>
                <c:pt idx="9">
                  <c:v>Da</c:v>
                </c:pt>
                <c:pt idx="10">
                  <c:v>Ne</c:v>
                </c:pt>
                <c:pt idx="11">
                  <c:v>Proizvodnja</c:v>
                </c:pt>
                <c:pt idx="12">
                  <c:v>Trgovina</c:v>
                </c:pt>
                <c:pt idx="13">
                  <c:v>Usluge</c:v>
                </c:pt>
              </c:strCache>
            </c:strRef>
          </c:cat>
          <c:val>
            <c:numRef>
              <c:f>Sheet1!$B$2:$O$2</c:f>
              <c:numCache>
                <c:formatCode>General</c:formatCode>
                <c:ptCount val="14"/>
                <c:pt idx="0">
                  <c:v>35.9</c:v>
                </c:pt>
                <c:pt idx="1">
                  <c:v>64.099999999999994</c:v>
                </c:pt>
                <c:pt idx="2">
                  <c:v>19</c:v>
                </c:pt>
                <c:pt idx="3">
                  <c:v>27</c:v>
                </c:pt>
                <c:pt idx="4">
                  <c:v>24.4</c:v>
                </c:pt>
                <c:pt idx="5">
                  <c:v>29.7</c:v>
                </c:pt>
                <c:pt idx="6">
                  <c:v>24</c:v>
                </c:pt>
                <c:pt idx="7">
                  <c:v>26.8</c:v>
                </c:pt>
                <c:pt idx="8">
                  <c:v>29</c:v>
                </c:pt>
                <c:pt idx="9">
                  <c:v>18</c:v>
                </c:pt>
                <c:pt idx="10">
                  <c:v>82</c:v>
                </c:pt>
                <c:pt idx="11">
                  <c:v>26.9</c:v>
                </c:pt>
                <c:pt idx="12">
                  <c:v>33.5</c:v>
                </c:pt>
                <c:pt idx="13">
                  <c:v>3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FE-4A3F-8BD1-CFCAA715DB5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1819776"/>
        <c:axId val="21821312"/>
      </c:barChart>
      <c:catAx>
        <c:axId val="21819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6334">
            <a:noFill/>
          </a:ln>
        </c:spPr>
        <c:txPr>
          <a:bodyPr rot="-540000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21821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821312"/>
        <c:scaling>
          <c:orientation val="minMax"/>
          <c:max val="1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819776"/>
        <c:crosses val="autoZero"/>
        <c:crossBetween val="between"/>
      </c:valAx>
      <c:spPr>
        <a:noFill/>
        <a:ln w="2533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9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960742235336654E-3"/>
          <c:y val="0"/>
          <c:w val="0.99108138238573018"/>
          <c:h val="0.418490495868514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aručioci</c:v>
                </c:pt>
              </c:strCache>
            </c:strRef>
          </c:tx>
          <c:spPr>
            <a:solidFill>
              <a:srgbClr val="001C54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numFmt formatCode="0" sourceLinked="0"/>
            <c:spPr>
              <a:noFill/>
              <a:ln w="25335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N$1</c:f>
              <c:strCache>
                <c:ptCount val="13"/>
                <c:pt idx="0">
                  <c:v>Beograd</c:v>
                </c:pt>
                <c:pt idx="1">
                  <c:v>Vojvodina</c:v>
                </c:pt>
                <c:pt idx="2">
                  <c:v>Šumadija i Zapadna Srbija</c:v>
                </c:pt>
                <c:pt idx="3">
                  <c:v>Južna i Istočna Srbija</c:v>
                </c:pt>
                <c:pt idx="4">
                  <c:v>Do 50</c:v>
                </c:pt>
                <c:pt idx="5">
                  <c:v>Od 51 do 200</c:v>
                </c:pt>
                <c:pt idx="6">
                  <c:v>Preko 200</c:v>
                </c:pt>
                <c:pt idx="7">
                  <c:v>Odbija da odgovori</c:v>
                </c:pt>
                <c:pt idx="8">
                  <c:v>Javno preduzeće</c:v>
                </c:pt>
                <c:pt idx="9">
                  <c:v>Ministarstvo / posebna organizacija</c:v>
                </c:pt>
                <c:pt idx="10">
                  <c:v>Lokalna samouprava</c:v>
                </c:pt>
                <c:pt idx="11">
                  <c:v>Pravosudni organi/Obrazovne ustanove/Zdravstvene ustanove</c:v>
                </c:pt>
                <c:pt idx="12">
                  <c:v>Samostalni i nezavisni državni organi</c:v>
                </c:pt>
              </c:strCache>
            </c:strRef>
          </c:cat>
          <c:val>
            <c:numRef>
              <c:f>Sheet1!$B$2:$N$2</c:f>
              <c:numCache>
                <c:formatCode>General</c:formatCode>
                <c:ptCount val="13"/>
                <c:pt idx="0">
                  <c:v>35.5</c:v>
                </c:pt>
                <c:pt idx="1">
                  <c:v>18.100000000000001</c:v>
                </c:pt>
                <c:pt idx="2">
                  <c:v>30.3</c:v>
                </c:pt>
                <c:pt idx="3">
                  <c:v>16.100000000000001</c:v>
                </c:pt>
                <c:pt idx="4">
                  <c:v>25.8</c:v>
                </c:pt>
                <c:pt idx="5">
                  <c:v>42.6</c:v>
                </c:pt>
                <c:pt idx="6">
                  <c:v>20.6</c:v>
                </c:pt>
                <c:pt idx="7">
                  <c:v>11</c:v>
                </c:pt>
                <c:pt idx="8">
                  <c:v>26.5</c:v>
                </c:pt>
                <c:pt idx="9">
                  <c:v>18.8</c:v>
                </c:pt>
                <c:pt idx="10">
                  <c:v>21.3</c:v>
                </c:pt>
                <c:pt idx="11">
                  <c:v>31.7</c:v>
                </c:pt>
                <c:pt idx="12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FE-4A3F-8BD1-CFCAA715DB5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axId val="21819776"/>
        <c:axId val="21821312"/>
      </c:barChart>
      <c:catAx>
        <c:axId val="21819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6334">
            <a:noFill/>
          </a:ln>
        </c:spPr>
        <c:txPr>
          <a:bodyPr rot="-540000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21821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821312"/>
        <c:scaling>
          <c:orientation val="minMax"/>
          <c:max val="1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819776"/>
        <c:crosses val="autoZero"/>
        <c:crossBetween val="between"/>
      </c:valAx>
      <c:spPr>
        <a:noFill/>
        <a:ln w="2533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9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91043778534436"/>
          <c:y val="0.18746267125420921"/>
          <c:w val="0.67089558857609344"/>
          <c:h val="0.7960454571462475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imalo</c:v>
                </c:pt>
              </c:strCache>
            </c:strRef>
          </c:tx>
          <c:spPr>
            <a:solidFill>
              <a:srgbClr val="9F1535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AB-44A7-9306-DF5DCF9CDAD0}"/>
                </c:ext>
              </c:extLst>
            </c:dLbl>
            <c:numFmt formatCode="#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i životnog ciklus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.6</c:v>
                </c:pt>
                <c:pt idx="1">
                  <c:v>12.9</c:v>
                </c:pt>
                <c:pt idx="2">
                  <c:v>12.3</c:v>
                </c:pt>
                <c:pt idx="3">
                  <c:v>14.2</c:v>
                </c:pt>
                <c:pt idx="4">
                  <c:v>19.399999999999999</c:v>
                </c:pt>
                <c:pt idx="5">
                  <c:v>2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AB-44A7-9306-DF5DCF9CDAD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o</c:v>
                </c:pt>
              </c:strCache>
            </c:strRef>
          </c:tx>
          <c:spPr>
            <a:solidFill>
              <a:srgbClr val="EB5A3D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i životnog ciklus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0.3</c:v>
                </c:pt>
                <c:pt idx="1">
                  <c:v>23.9</c:v>
                </c:pt>
                <c:pt idx="2">
                  <c:v>25.2</c:v>
                </c:pt>
                <c:pt idx="3">
                  <c:v>27.1</c:v>
                </c:pt>
                <c:pt idx="4">
                  <c:v>25.8</c:v>
                </c:pt>
                <c:pt idx="5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AB-44A7-9306-DF5DCF9CDAD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 zna/ Odbija da odgovori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i životnog ciklus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0.6</c:v>
                </c:pt>
                <c:pt idx="1">
                  <c:v>1.3</c:v>
                </c:pt>
                <c:pt idx="2">
                  <c:v>2.6</c:v>
                </c:pt>
                <c:pt idx="3">
                  <c:v>3.2</c:v>
                </c:pt>
                <c:pt idx="4">
                  <c:v>3.9</c:v>
                </c:pt>
                <c:pt idx="5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AB-44A7-9306-DF5DCF9CDAD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onekle</c:v>
                </c:pt>
              </c:strCache>
            </c:strRef>
          </c:tx>
          <c:spPr>
            <a:solidFill>
              <a:srgbClr val="007681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i životnog ciklus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44.5</c:v>
                </c:pt>
                <c:pt idx="1">
                  <c:v>48.4</c:v>
                </c:pt>
                <c:pt idx="2">
                  <c:v>41.9</c:v>
                </c:pt>
                <c:pt idx="3">
                  <c:v>33.5</c:v>
                </c:pt>
                <c:pt idx="4">
                  <c:v>31</c:v>
                </c:pt>
                <c:pt idx="5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AB-44A7-9306-DF5DCF9CDAD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U velikoj meri</c:v>
                </c:pt>
              </c:strCache>
            </c:strRef>
          </c:tx>
          <c:spPr>
            <a:solidFill>
              <a:srgbClr val="001C54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i životnog ciklus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41.9</c:v>
                </c:pt>
                <c:pt idx="1">
                  <c:v>13.5</c:v>
                </c:pt>
                <c:pt idx="2">
                  <c:v>18.100000000000001</c:v>
                </c:pt>
                <c:pt idx="3">
                  <c:v>21.9</c:v>
                </c:pt>
                <c:pt idx="4">
                  <c:v>20</c:v>
                </c:pt>
                <c:pt idx="5">
                  <c:v>17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D9-4CE2-A9A9-ADC4BBD00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64627968"/>
        <c:axId val="164629504"/>
      </c:barChart>
      <c:catAx>
        <c:axId val="16462796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+mn-lt"/>
                <a:cs typeface="Calibri" panose="020F0502020204030204" pitchFamily="34" charset="0"/>
              </a:defRPr>
            </a:pPr>
            <a:endParaRPr lang="en-US"/>
          </a:p>
        </c:txPr>
        <c:crossAx val="164629504"/>
        <c:crosses val="autoZero"/>
        <c:auto val="1"/>
        <c:lblAlgn val="ctr"/>
        <c:lblOffset val="100"/>
        <c:noMultiLvlLbl val="0"/>
      </c:catAx>
      <c:valAx>
        <c:axId val="16462950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6462796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0859665336296582"/>
          <c:y val="3.0161676680481864E-2"/>
          <c:w val="0.69040754918923719"/>
          <c:h val="0.17148278780577661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91043778534436"/>
          <c:y val="0.18746267125420921"/>
          <c:w val="0.67089558857609344"/>
          <c:h val="0.7960454571462475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ikad</c:v>
                </c:pt>
              </c:strCache>
            </c:strRef>
          </c:tx>
          <c:spPr>
            <a:solidFill>
              <a:srgbClr val="9F1535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AB-44A7-9306-DF5DCF9CDAD0}"/>
                </c:ext>
              </c:extLst>
            </c:dLbl>
            <c:numFmt formatCode="#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.3000000000000007</c:v>
                </c:pt>
                <c:pt idx="1">
                  <c:v>31.6</c:v>
                </c:pt>
                <c:pt idx="2">
                  <c:v>32.299999999999997</c:v>
                </c:pt>
                <c:pt idx="3">
                  <c:v>34.799999999999997</c:v>
                </c:pt>
                <c:pt idx="4">
                  <c:v>49.1</c:v>
                </c:pt>
                <c:pt idx="5">
                  <c:v>4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AB-44A7-9306-DF5DCF9CDAD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tko</c:v>
                </c:pt>
              </c:strCache>
            </c:strRef>
          </c:tx>
          <c:spPr>
            <a:solidFill>
              <a:srgbClr val="EB5A3D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9.899999999999999</c:v>
                </c:pt>
                <c:pt idx="1">
                  <c:v>27.9</c:v>
                </c:pt>
                <c:pt idx="2">
                  <c:v>27.8</c:v>
                </c:pt>
                <c:pt idx="3">
                  <c:v>28.9</c:v>
                </c:pt>
                <c:pt idx="4">
                  <c:v>19</c:v>
                </c:pt>
                <c:pt idx="5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AB-44A7-9306-DF5DCF9CDAD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nekad </c:v>
                </c:pt>
              </c:strCache>
            </c:strRef>
          </c:tx>
          <c:spPr>
            <a:solidFill>
              <a:srgbClr val="DA9E11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31.1</c:v>
                </c:pt>
                <c:pt idx="1">
                  <c:v>14</c:v>
                </c:pt>
                <c:pt idx="2">
                  <c:v>14.3</c:v>
                </c:pt>
                <c:pt idx="3">
                  <c:v>13.3</c:v>
                </c:pt>
                <c:pt idx="4">
                  <c:v>7.8</c:v>
                </c:pt>
                <c:pt idx="5">
                  <c:v>1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AB-44A7-9306-DF5DCF9CDAD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ije primenjivo/Ne zna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E$2:$E$7</c:f>
              <c:numCache>
                <c:formatCode>0.0</c:formatCode>
                <c:ptCount val="6"/>
                <c:pt idx="0">
                  <c:v>4.5999999999999996</c:v>
                </c:pt>
                <c:pt idx="1">
                  <c:v>5.9</c:v>
                </c:pt>
                <c:pt idx="2">
                  <c:v>7.6</c:v>
                </c:pt>
                <c:pt idx="3">
                  <c:v>10.4</c:v>
                </c:pt>
                <c:pt idx="4">
                  <c:v>12</c:v>
                </c:pt>
                <c:pt idx="5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AB-44A7-9306-DF5DCF9CDAD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Često </c:v>
                </c:pt>
              </c:strCache>
            </c:strRef>
          </c:tx>
          <c:spPr>
            <a:solidFill>
              <a:srgbClr val="007681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21.2</c:v>
                </c:pt>
                <c:pt idx="1">
                  <c:v>15.4</c:v>
                </c:pt>
                <c:pt idx="2">
                  <c:v>10.5</c:v>
                </c:pt>
                <c:pt idx="3">
                  <c:v>7.4</c:v>
                </c:pt>
                <c:pt idx="4">
                  <c:v>6</c:v>
                </c:pt>
                <c:pt idx="5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D9-4CE2-A9A9-ADC4BBD00A53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Uvek</c:v>
                </c:pt>
              </c:strCache>
            </c:strRef>
          </c:tx>
          <c:spPr>
            <a:solidFill>
              <a:srgbClr val="001C54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Ekološki kriterijumi</c:v>
                </c:pt>
                <c:pt idx="2">
                  <c:v>Kriterijum energetske efikasnosti</c:v>
                </c:pt>
                <c:pt idx="3">
                  <c:v>Kriterijum troškovi životnog ciklusa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G$2:$G$7</c:f>
              <c:numCache>
                <c:formatCode>General</c:formatCode>
                <c:ptCount val="6"/>
                <c:pt idx="0">
                  <c:v>13.9</c:v>
                </c:pt>
                <c:pt idx="1">
                  <c:v>5.0999999999999996</c:v>
                </c:pt>
                <c:pt idx="2">
                  <c:v>7.5</c:v>
                </c:pt>
                <c:pt idx="3">
                  <c:v>5.2</c:v>
                </c:pt>
                <c:pt idx="4">
                  <c:v>6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6B-4D3E-9AB1-F042076E0A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64627968"/>
        <c:axId val="164629504"/>
      </c:barChart>
      <c:catAx>
        <c:axId val="16462796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+mn-lt"/>
                <a:cs typeface="Calibri" panose="020F0502020204030204" pitchFamily="34" charset="0"/>
              </a:defRPr>
            </a:pPr>
            <a:endParaRPr lang="en-US"/>
          </a:p>
        </c:txPr>
        <c:crossAx val="164629504"/>
        <c:crosses val="autoZero"/>
        <c:auto val="1"/>
        <c:lblAlgn val="ctr"/>
        <c:lblOffset val="100"/>
        <c:noMultiLvlLbl val="0"/>
      </c:catAx>
      <c:valAx>
        <c:axId val="16462950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6462796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2504206168066963"/>
          <c:y val="3.0161676680481864E-2"/>
          <c:w val="0.66189020607095517"/>
          <c:h val="0.1161236426874410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370701010410126"/>
          <c:y val="0.18746267125420921"/>
          <c:w val="0.72629287510656759"/>
          <c:h val="0.7960454571462475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opšte nije važno</c:v>
                </c:pt>
              </c:strCache>
            </c:strRef>
          </c:tx>
          <c:spPr>
            <a:solidFill>
              <a:srgbClr val="9F1535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4AB-44A7-9306-DF5DCF9CDAD0}"/>
                </c:ext>
              </c:extLst>
            </c:dLbl>
            <c:numFmt formatCode="#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energetske efikasnosti</c:v>
                </c:pt>
                <c:pt idx="2">
                  <c:v>Ekološki kriterijumi</c:v>
                </c:pt>
                <c:pt idx="3">
                  <c:v>Kriterijum troškovi životnog ciklusa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6</c:v>
                </c:pt>
                <c:pt idx="2">
                  <c:v>7.4</c:v>
                </c:pt>
                <c:pt idx="3">
                  <c:v>8.1999999999999993</c:v>
                </c:pt>
                <c:pt idx="4">
                  <c:v>19</c:v>
                </c:pt>
                <c:pt idx="5">
                  <c:v>2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AB-44A7-9306-DF5DCF9CDAD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glavnom nije važno</c:v>
                </c:pt>
              </c:strCache>
            </c:strRef>
          </c:tx>
          <c:spPr>
            <a:solidFill>
              <a:srgbClr val="EB5A3D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energetske efikasnosti</c:v>
                </c:pt>
                <c:pt idx="2">
                  <c:v>Ekološki kriterijumi</c:v>
                </c:pt>
                <c:pt idx="3">
                  <c:v>Kriterijum troškovi životnog ciklusa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.8</c:v>
                </c:pt>
                <c:pt idx="1">
                  <c:v>7.2</c:v>
                </c:pt>
                <c:pt idx="2">
                  <c:v>8.8000000000000007</c:v>
                </c:pt>
                <c:pt idx="3">
                  <c:v>7.7</c:v>
                </c:pt>
                <c:pt idx="4">
                  <c:v>15.5</c:v>
                </c:pt>
                <c:pt idx="5">
                  <c:v>2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AB-44A7-9306-DF5DCF9CDAD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 zna/Odbija da odgovori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energetske efikasnosti</c:v>
                </c:pt>
                <c:pt idx="2">
                  <c:v>Ekološki kriterijumi</c:v>
                </c:pt>
                <c:pt idx="3">
                  <c:v>Kriterijum troškovi životnog ciklusa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1.8</c:v>
                </c:pt>
                <c:pt idx="1">
                  <c:v>1.7</c:v>
                </c:pt>
                <c:pt idx="2">
                  <c:v>0.9</c:v>
                </c:pt>
                <c:pt idx="3">
                  <c:v>1.9</c:v>
                </c:pt>
                <c:pt idx="4">
                  <c:v>9</c:v>
                </c:pt>
                <c:pt idx="5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AB-44A7-9306-DF5DCF9CDAD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Uglavnom je važno</c:v>
                </c:pt>
              </c:strCache>
            </c:strRef>
          </c:tx>
          <c:spPr>
            <a:solidFill>
              <a:srgbClr val="007681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energetske efikasnosti</c:v>
                </c:pt>
                <c:pt idx="2">
                  <c:v>Ekološki kriterijumi</c:v>
                </c:pt>
                <c:pt idx="3">
                  <c:v>Kriterijum troškovi životnog ciklusa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19.100000000000001</c:v>
                </c:pt>
                <c:pt idx="1">
                  <c:v>36</c:v>
                </c:pt>
                <c:pt idx="2">
                  <c:v>33.4</c:v>
                </c:pt>
                <c:pt idx="3">
                  <c:v>42.1</c:v>
                </c:pt>
                <c:pt idx="4">
                  <c:v>33.6</c:v>
                </c:pt>
                <c:pt idx="5">
                  <c:v>2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AB-44A7-9306-DF5DCF9CDAD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eoma je važno</c:v>
                </c:pt>
              </c:strCache>
            </c:strRef>
          </c:tx>
          <c:spPr>
            <a:solidFill>
              <a:srgbClr val="001C54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energetske efikasnosti</c:v>
                </c:pt>
                <c:pt idx="2">
                  <c:v>Ekološki kriterijumi</c:v>
                </c:pt>
                <c:pt idx="3">
                  <c:v>Kriterijum troškovi životnog ciklusa</c:v>
                </c:pt>
                <c:pt idx="4">
                  <c:v>Kriterijum socijalne inkluzije</c:v>
                </c:pt>
                <c:pt idx="5">
                  <c:v>Kriterijum rodne ravnopravnosti</c:v>
                </c:pt>
              </c:strCache>
            </c:strRef>
          </c:cat>
          <c:val>
            <c:numRef>
              <c:f>Sheet1!$F$2:$F$7</c:f>
              <c:numCache>
                <c:formatCode>General</c:formatCode>
                <c:ptCount val="6"/>
                <c:pt idx="0">
                  <c:v>74.400000000000006</c:v>
                </c:pt>
                <c:pt idx="1">
                  <c:v>49.1</c:v>
                </c:pt>
                <c:pt idx="2">
                  <c:v>49.5</c:v>
                </c:pt>
                <c:pt idx="3">
                  <c:v>40.1</c:v>
                </c:pt>
                <c:pt idx="4">
                  <c:v>22.9</c:v>
                </c:pt>
                <c:pt idx="5">
                  <c:v>2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D9-4CE2-A9A9-ADC4BBD00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64627968"/>
        <c:axId val="164629504"/>
      </c:barChart>
      <c:catAx>
        <c:axId val="16462796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latin typeface="+mn-lt"/>
                <a:cs typeface="Calibri" panose="020F0502020204030204" pitchFamily="34" charset="0"/>
              </a:defRPr>
            </a:pPr>
            <a:endParaRPr lang="en-US"/>
          </a:p>
        </c:txPr>
        <c:crossAx val="164629504"/>
        <c:crosses val="autoZero"/>
        <c:auto val="1"/>
        <c:lblAlgn val="ctr"/>
        <c:lblOffset val="100"/>
        <c:noMultiLvlLbl val="0"/>
      </c:catAx>
      <c:valAx>
        <c:axId val="16462950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6462796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557108578382733"/>
          <c:y val="2.2621257510361398E-2"/>
          <c:w val="0.88442891421617265"/>
          <c:h val="0.14101364811237421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8926543777795"/>
          <c:y val="0"/>
          <c:w val="0.63150933303354773"/>
          <c:h val="0.9865179194188032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rgbClr val="007681"/>
            </a:solidFill>
            <a:ln w="18540">
              <a:solidFill>
                <a:srgbClr val="FFFFFF"/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314-48F7-91B2-85D58C8F212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314-48F7-91B2-85D58C8F2121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314-48F7-91B2-85D58C8F2121}"/>
              </c:ext>
            </c:extLst>
          </c:dPt>
          <c:dLbls>
            <c:dLbl>
              <c:idx val="11"/>
              <c:numFmt formatCode="0.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314-48F7-91B2-85D58C8F2121}"/>
                </c:ext>
              </c:extLst>
            </c:dLbl>
            <c:dLbl>
              <c:idx val="12"/>
              <c:numFmt formatCode="0.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6314-48F7-91B2-85D58C8F2121}"/>
                </c:ext>
              </c:extLst>
            </c:dLbl>
            <c:dLbl>
              <c:idx val="27"/>
              <c:layout>
                <c:manualLayout>
                  <c:xMode val="edge"/>
                  <c:yMode val="edge"/>
                  <c:x val="0.33407325194228638"/>
                  <c:y val="0.81418092909535456"/>
                </c:manualLayout>
              </c:layout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314-48F7-91B2-85D58C8F2121}"/>
                </c:ext>
              </c:extLst>
            </c:dLbl>
            <c:dLbl>
              <c:idx val="28"/>
              <c:layout>
                <c:manualLayout>
                  <c:xMode val="edge"/>
                  <c:yMode val="edge"/>
                  <c:x val="0.33074361820199777"/>
                  <c:y val="0.8386308068459658"/>
                </c:manualLayout>
              </c:layout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314-48F7-91B2-85D58C8F2121}"/>
                </c:ext>
              </c:extLst>
            </c:dLbl>
            <c:numFmt formatCode="0&quot;%&quot;" sourceLinked="0"/>
            <c:spPr>
              <a:noFill/>
              <a:ln w="3708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+mn-lt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B$2:$B$7</c:f>
              <c:numCache>
                <c:formatCode>#0.0</c:formatCode>
                <c:ptCount val="6"/>
                <c:pt idx="0">
                  <c:v>83.3</c:v>
                </c:pt>
                <c:pt idx="1">
                  <c:v>70.099999999999994</c:v>
                </c:pt>
                <c:pt idx="2">
                  <c:v>53.6</c:v>
                </c:pt>
                <c:pt idx="3">
                  <c:v>37.1</c:v>
                </c:pt>
                <c:pt idx="4">
                  <c:v>21.2</c:v>
                </c:pt>
                <c:pt idx="5">
                  <c:v>16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314-48F7-91B2-85D58C8F21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rgbClr val="001C54"/>
            </a:solidFill>
            <a:ln w="18540">
              <a:solidFill>
                <a:srgbClr val="FFFFFF"/>
              </a:solidFill>
              <a:prstDash val="solid"/>
            </a:ln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314-48F7-91B2-85D58C8F2121}"/>
              </c:ext>
            </c:extLst>
          </c:dPt>
          <c:dLbls>
            <c:dLbl>
              <c:idx val="6"/>
              <c:layout>
                <c:manualLayout>
                  <c:x val="1.4688875267432064E-3"/>
                  <c:y val="3.7290054439194299E-3"/>
                </c:manualLayout>
              </c:layout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314-48F7-91B2-85D58C8F2121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314-48F7-91B2-85D58C8F2121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314-48F7-91B2-85D58C8F212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314-48F7-91B2-85D58C8F212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314-48F7-91B2-85D58C8F2121}"/>
                </c:ext>
              </c:extLst>
            </c:dLbl>
            <c:dLbl>
              <c:idx val="13"/>
              <c:numFmt formatCode="#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314-48F7-91B2-85D58C8F2121}"/>
                </c:ext>
              </c:extLst>
            </c:dLbl>
            <c:dLbl>
              <c:idx val="14"/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314-48F7-91B2-85D58C8F212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314-48F7-91B2-85D58C8F212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314-48F7-91B2-85D58C8F2121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314-48F7-91B2-85D58C8F2121}"/>
                </c:ext>
              </c:extLst>
            </c:dLbl>
            <c:numFmt formatCode="0&quot;%&quot;" sourceLinked="0"/>
            <c:spPr>
              <a:noFill/>
              <a:ln w="3708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bg1"/>
                    </a:solidFill>
                    <a:latin typeface="+mn-lt"/>
                    <a:ea typeface="Calibri"/>
                    <a:cs typeface="Calibri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riterijum kvaliteta</c:v>
                </c:pt>
                <c:pt idx="1">
                  <c:v>Kriterijum troškova</c:v>
                </c:pt>
                <c:pt idx="2">
                  <c:v>Ekološki kriterijumi</c:v>
                </c:pt>
                <c:pt idx="3">
                  <c:v>Kriterijum energetske efikasnosti</c:v>
                </c:pt>
                <c:pt idx="4">
                  <c:v>Kriterijum rodne ravnopravnosti</c:v>
                </c:pt>
                <c:pt idx="5">
                  <c:v>Kriterijum socijalne inkluzije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45</c:v>
                </c:pt>
                <c:pt idx="1">
                  <c:v>28.4</c:v>
                </c:pt>
                <c:pt idx="2">
                  <c:v>11.3</c:v>
                </c:pt>
                <c:pt idx="3">
                  <c:v>5.7</c:v>
                </c:pt>
                <c:pt idx="4">
                  <c:v>5.5</c:v>
                </c:pt>
                <c:pt idx="5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314-48F7-91B2-85D58C8F21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174136600"/>
        <c:axId val="1"/>
      </c:barChart>
      <c:catAx>
        <c:axId val="1741366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270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+mn-lt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1"/>
        <c:axPos val="t"/>
        <c:numFmt formatCode="#0.0" sourceLinked="1"/>
        <c:majorTickMark val="out"/>
        <c:minorTickMark val="none"/>
        <c:tickLblPos val="nextTo"/>
        <c:crossAx val="174136600"/>
        <c:crosses val="autoZero"/>
        <c:crossBetween val="between"/>
      </c:valAx>
      <c:spPr>
        <a:noFill/>
        <a:ln w="37080">
          <a:noFill/>
        </a:ln>
      </c:spPr>
    </c:plotArea>
    <c:legend>
      <c:legendPos val="r"/>
      <c:layout>
        <c:manualLayout>
          <c:xMode val="edge"/>
          <c:yMode val="edge"/>
          <c:x val="0.78748782468808087"/>
          <c:y val="0.74321242324578785"/>
          <c:w val="0.19188639588141482"/>
          <c:h val="0.17495851645084862"/>
        </c:manualLayout>
      </c:layout>
      <c:overlay val="0"/>
      <c:spPr>
        <a:noFill/>
        <a:ln w="3708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Segoe UI"/>
              <a:ea typeface="Segoe UI"/>
              <a:cs typeface="Segoe U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628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834397564489708"/>
          <c:y val="1.118613553368436E-2"/>
          <c:w val="0.6580580117664302"/>
          <c:h val="0.9865179194188032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rgbClr val="007681"/>
            </a:solidFill>
            <a:ln w="18540">
              <a:solidFill>
                <a:srgbClr val="FFFFFF"/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314-48F7-91B2-85D58C8F2121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314-48F7-91B2-85D58C8F2121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314-48F7-91B2-85D58C8F2121}"/>
              </c:ext>
            </c:extLst>
          </c:dPt>
          <c:dLbls>
            <c:dLbl>
              <c:idx val="11"/>
              <c:numFmt formatCode="0.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6314-48F7-91B2-85D58C8F2121}"/>
                </c:ext>
              </c:extLst>
            </c:dLbl>
            <c:dLbl>
              <c:idx val="12"/>
              <c:numFmt formatCode="0.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6314-48F7-91B2-85D58C8F2121}"/>
                </c:ext>
              </c:extLst>
            </c:dLbl>
            <c:dLbl>
              <c:idx val="27"/>
              <c:layout>
                <c:manualLayout>
                  <c:xMode val="edge"/>
                  <c:yMode val="edge"/>
                  <c:x val="0.33407325194228638"/>
                  <c:y val="0.81418092909535456"/>
                </c:manualLayout>
              </c:layout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314-48F7-91B2-85D58C8F2121}"/>
                </c:ext>
              </c:extLst>
            </c:dLbl>
            <c:dLbl>
              <c:idx val="28"/>
              <c:layout>
                <c:manualLayout>
                  <c:xMode val="edge"/>
                  <c:yMode val="edge"/>
                  <c:x val="0.33074361820199777"/>
                  <c:y val="0.8386308068459658"/>
                </c:manualLayout>
              </c:layout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/>
                <a:lstStyle/>
                <a:p>
                  <a:pPr>
                    <a:defRPr sz="1200" b="1" i="0" u="none" strike="noStrike" baseline="0">
                      <a:solidFill>
                        <a:srgbClr val="000000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314-48F7-91B2-85D58C8F2121}"/>
                </c:ext>
              </c:extLst>
            </c:dLbl>
            <c:numFmt formatCode="0&quot;%&quot;" sourceLinked="0"/>
            <c:spPr>
              <a:noFill/>
              <a:ln w="3708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+mn-lt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Zdravstvo</c:v>
                </c:pt>
                <c:pt idx="1">
                  <c:v>Obrazovanje</c:v>
                </c:pt>
                <c:pt idx="2">
                  <c:v>Infrastruktura i putevi</c:v>
                </c:pt>
                <c:pt idx="3">
                  <c:v>Zaštita životne sredine</c:v>
                </c:pt>
                <c:pt idx="4">
                  <c:v>Socijalna pitanja</c:v>
                </c:pt>
                <c:pt idx="5">
                  <c:v>Energetika</c:v>
                </c:pt>
                <c:pt idx="6">
                  <c:v>Kultura</c:v>
                </c:pt>
                <c:pt idx="7">
                  <c:v>Sudstvo</c:v>
                </c:pt>
                <c:pt idx="8">
                  <c:v>Drugo</c:v>
                </c:pt>
                <c:pt idx="9">
                  <c:v>Ne znam</c:v>
                </c:pt>
              </c:strCache>
            </c:strRef>
          </c:cat>
          <c:val>
            <c:numRef>
              <c:f>Sheet1!$B$2:$B$11</c:f>
              <c:numCache>
                <c:formatCode>#0.0</c:formatCode>
                <c:ptCount val="10"/>
                <c:pt idx="0">
                  <c:v>78</c:v>
                </c:pt>
                <c:pt idx="1">
                  <c:v>47.9</c:v>
                </c:pt>
                <c:pt idx="2">
                  <c:v>46.6</c:v>
                </c:pt>
                <c:pt idx="3">
                  <c:v>37.9</c:v>
                </c:pt>
                <c:pt idx="4">
                  <c:v>31</c:v>
                </c:pt>
                <c:pt idx="5">
                  <c:v>16.399999999999999</c:v>
                </c:pt>
                <c:pt idx="6">
                  <c:v>13.9</c:v>
                </c:pt>
                <c:pt idx="7">
                  <c:v>8</c:v>
                </c:pt>
                <c:pt idx="8">
                  <c:v>1.7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314-48F7-91B2-85D58C8F21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rgbClr val="001C54"/>
            </a:solidFill>
            <a:ln w="18540">
              <a:solidFill>
                <a:srgbClr val="FFFFFF"/>
              </a:solidFill>
              <a:prstDash val="solid"/>
            </a:ln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314-48F7-91B2-85D58C8F2121}"/>
              </c:ext>
            </c:extLst>
          </c:dPt>
          <c:dLbls>
            <c:dLbl>
              <c:idx val="6"/>
              <c:layout>
                <c:manualLayout>
                  <c:x val="1.4688875267432064E-3"/>
                  <c:y val="3.72900544391942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314-48F7-91B2-85D58C8F2121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314-48F7-91B2-85D58C8F2121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314-48F7-91B2-85D58C8F212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314-48F7-91B2-85D58C8F2121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314-48F7-91B2-85D58C8F2121}"/>
                </c:ext>
              </c:extLst>
            </c:dLbl>
            <c:dLbl>
              <c:idx val="13"/>
              <c:numFmt formatCode="#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chemeClr val="bg1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314-48F7-91B2-85D58C8F2121}"/>
                </c:ext>
              </c:extLst>
            </c:dLbl>
            <c:dLbl>
              <c:idx val="14"/>
              <c:numFmt formatCode="0&quot;%&quot;" sourceLinked="0"/>
              <c:spPr>
                <a:noFill/>
                <a:ln w="37080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 i="0" u="none" strike="noStrike" baseline="0">
                      <a:solidFill>
                        <a:schemeClr val="tx1"/>
                      </a:solidFill>
                      <a:latin typeface="+mn-lt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314-48F7-91B2-85D58C8F2121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314-48F7-91B2-85D58C8F2121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314-48F7-91B2-85D58C8F2121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314-48F7-91B2-85D58C8F2121}"/>
                </c:ext>
              </c:extLst>
            </c:dLbl>
            <c:numFmt formatCode="0&quot;%&quot;" sourceLinked="0"/>
            <c:spPr>
              <a:noFill/>
              <a:ln w="3708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bg1"/>
                    </a:solidFill>
                    <a:latin typeface="+mn-lt"/>
                    <a:ea typeface="Calibri"/>
                    <a:cs typeface="Calibri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Zdravstvo</c:v>
                </c:pt>
                <c:pt idx="1">
                  <c:v>Obrazovanje</c:v>
                </c:pt>
                <c:pt idx="2">
                  <c:v>Infrastruktura i putevi</c:v>
                </c:pt>
                <c:pt idx="3">
                  <c:v>Zaštita životne sredine</c:v>
                </c:pt>
                <c:pt idx="4">
                  <c:v>Socijalna pitanja</c:v>
                </c:pt>
                <c:pt idx="5">
                  <c:v>Energetika</c:v>
                </c:pt>
                <c:pt idx="6">
                  <c:v>Kultura</c:v>
                </c:pt>
                <c:pt idx="7">
                  <c:v>Sudstvo</c:v>
                </c:pt>
                <c:pt idx="8">
                  <c:v>Drugo</c:v>
                </c:pt>
                <c:pt idx="9">
                  <c:v>Ne znam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44.8</c:v>
                </c:pt>
                <c:pt idx="1">
                  <c:v>12.2</c:v>
                </c:pt>
                <c:pt idx="2">
                  <c:v>14.2</c:v>
                </c:pt>
                <c:pt idx="3">
                  <c:v>8.4</c:v>
                </c:pt>
                <c:pt idx="4">
                  <c:v>7.7</c:v>
                </c:pt>
                <c:pt idx="5">
                  <c:v>4</c:v>
                </c:pt>
                <c:pt idx="6">
                  <c:v>4.4000000000000004</c:v>
                </c:pt>
                <c:pt idx="7">
                  <c:v>1.2</c:v>
                </c:pt>
                <c:pt idx="8">
                  <c:v>0.9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314-48F7-91B2-85D58C8F212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174136600"/>
        <c:axId val="1"/>
      </c:barChart>
      <c:catAx>
        <c:axId val="1741366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9270">
            <a:noFill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rgbClr val="000000"/>
                </a:solidFill>
                <a:latin typeface="+mn-lt"/>
                <a:ea typeface="Calibri"/>
                <a:cs typeface="Calibri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1"/>
        <c:axPos val="t"/>
        <c:numFmt formatCode="#0.0" sourceLinked="1"/>
        <c:majorTickMark val="out"/>
        <c:minorTickMark val="none"/>
        <c:tickLblPos val="nextTo"/>
        <c:crossAx val="174136600"/>
        <c:crosses val="autoZero"/>
        <c:crossBetween val="between"/>
      </c:valAx>
      <c:spPr>
        <a:noFill/>
        <a:ln w="37080">
          <a:noFill/>
        </a:ln>
      </c:spPr>
    </c:plotArea>
    <c:legend>
      <c:legendPos val="r"/>
      <c:layout>
        <c:manualLayout>
          <c:xMode val="edge"/>
          <c:yMode val="edge"/>
          <c:x val="0.70636685164026947"/>
          <c:y val="0.63507977975350571"/>
          <c:w val="0.19188639588141482"/>
          <c:h val="0.17495851645084862"/>
        </c:manualLayout>
      </c:layout>
      <c:overlay val="0"/>
      <c:spPr>
        <a:noFill/>
        <a:ln w="3708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Segoe UI"/>
              <a:ea typeface="Segoe UI"/>
              <a:cs typeface="Segoe U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628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eg"/><Relationship Id="rId1" Type="http://schemas.openxmlformats.org/officeDocument/2006/relationships/image" Target="../media/image34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eg"/><Relationship Id="rId1" Type="http://schemas.openxmlformats.org/officeDocument/2006/relationships/image" Target="../media/image34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FD75A8-33BE-47E6-919F-A18F17A7F233}" type="doc">
      <dgm:prSet loTypeId="urn:microsoft.com/office/officeart/2005/8/layout/orgChart1" loCatId="hierarchy" qsTypeId="urn:microsoft.com/office/officeart/2005/8/quickstyle/simple2" qsCatId="simple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04559E4F-908A-40D4-9EAF-3A5169C3B83C}" type="asst">
      <dgm:prSet phldrT="[Text]" custT="1"/>
      <dgm:spPr/>
      <dgm:t>
        <a:bodyPr/>
        <a:lstStyle/>
        <a:p>
          <a:r>
            <a:rPr lang="en-US" sz="1400" b="1" dirty="0" err="1"/>
            <a:t>Kriterijumi</a:t>
          </a:r>
          <a:r>
            <a:rPr lang="en-US" sz="1400" b="1" dirty="0"/>
            <a:t> za </a:t>
          </a:r>
          <a:r>
            <a:rPr lang="en-US" sz="1400" b="1" dirty="0" err="1"/>
            <a:t>ocenu</a:t>
          </a:r>
          <a:r>
            <a:rPr lang="en-US" sz="1400" b="1" dirty="0"/>
            <a:t> </a:t>
          </a:r>
          <a:r>
            <a:rPr lang="en-US" sz="1400" b="1" dirty="0" err="1"/>
            <a:t>ponuda</a:t>
          </a:r>
          <a:r>
            <a:rPr lang="sr-Latn-RS" sz="1400" b="1" dirty="0"/>
            <a:t> (alternativno):</a:t>
          </a:r>
          <a:endParaRPr lang="en-US" sz="1400" b="1" dirty="0"/>
        </a:p>
      </dgm:t>
    </dgm:pt>
    <dgm:pt modelId="{30BF61F7-DD57-4A4A-BE8E-9723B4F4A258}" type="parTrans" cxnId="{B8C724D4-A15E-4463-A7FB-A0B0CBCA05D5}">
      <dgm:prSet/>
      <dgm:spPr/>
      <dgm:t>
        <a:bodyPr/>
        <a:lstStyle/>
        <a:p>
          <a:endParaRPr lang="en-US"/>
        </a:p>
      </dgm:t>
    </dgm:pt>
    <dgm:pt modelId="{1EEA8A47-D661-4FE1-A023-CE0DB30A4953}" type="sibTrans" cxnId="{B8C724D4-A15E-4463-A7FB-A0B0CBCA05D5}">
      <dgm:prSet/>
      <dgm:spPr/>
      <dgm:t>
        <a:bodyPr/>
        <a:lstStyle/>
        <a:p>
          <a:endParaRPr lang="en-US"/>
        </a:p>
      </dgm:t>
    </dgm:pt>
    <dgm:pt modelId="{261489B2-542A-44E4-985C-66790AE9B5CD}">
      <dgm:prSet phldrT="[Text]" custT="1"/>
      <dgm:spPr/>
      <dgm:t>
        <a:bodyPr/>
        <a:lstStyle/>
        <a:p>
          <a:r>
            <a:rPr lang="sr-Latn-RS" sz="1400" b="1" dirty="0"/>
            <a:t>cena</a:t>
          </a:r>
          <a:endParaRPr lang="en-US" sz="1400" b="1" dirty="0"/>
        </a:p>
      </dgm:t>
    </dgm:pt>
    <dgm:pt modelId="{0062F759-B892-4788-A1EA-E6336F28E957}" type="parTrans" cxnId="{893DCEFD-044A-4BA6-8D27-745D845086AA}">
      <dgm:prSet/>
      <dgm:spPr/>
      <dgm:t>
        <a:bodyPr/>
        <a:lstStyle/>
        <a:p>
          <a:endParaRPr lang="en-US"/>
        </a:p>
      </dgm:t>
    </dgm:pt>
    <dgm:pt modelId="{E8CF82C3-EFB7-46A5-9A1E-11CF76ED9882}" type="sibTrans" cxnId="{893DCEFD-044A-4BA6-8D27-745D845086AA}">
      <dgm:prSet/>
      <dgm:spPr/>
      <dgm:t>
        <a:bodyPr/>
        <a:lstStyle/>
        <a:p>
          <a:endParaRPr lang="en-US"/>
        </a:p>
      </dgm:t>
    </dgm:pt>
    <dgm:pt modelId="{D070923D-A65A-4B16-86BC-F42AC027141C}">
      <dgm:prSet phldrT="[Text]" custT="1"/>
      <dgm:spPr/>
      <dgm:t>
        <a:bodyPr/>
        <a:lstStyle/>
        <a:p>
          <a:r>
            <a:rPr lang="en-US" sz="1400" b="1" dirty="0" err="1"/>
            <a:t>Troškovi</a:t>
          </a:r>
          <a:r>
            <a:rPr lang="sr-Latn-RS" sz="1400" b="1" dirty="0"/>
            <a:t> </a:t>
          </a:r>
          <a:r>
            <a:rPr lang="en-US" sz="1400" b="1" dirty="0" err="1"/>
            <a:t>primenom</a:t>
          </a:r>
          <a:r>
            <a:rPr lang="en-US" sz="1400" b="1" dirty="0"/>
            <a:t> </a:t>
          </a:r>
          <a:r>
            <a:rPr lang="en-US" sz="1400" b="1" dirty="0" err="1"/>
            <a:t>pristupa</a:t>
          </a:r>
          <a:r>
            <a:rPr lang="en-US" sz="1400" b="1" dirty="0"/>
            <a:t> </a:t>
          </a:r>
          <a:r>
            <a:rPr lang="en-US" sz="1400" b="1" dirty="0" err="1"/>
            <a:t>troškovne</a:t>
          </a:r>
          <a:r>
            <a:rPr lang="en-US" sz="1400" b="1" dirty="0"/>
            <a:t> </a:t>
          </a:r>
          <a:r>
            <a:rPr lang="en-US" sz="1400" b="1" dirty="0" err="1"/>
            <a:t>efikasnosti</a:t>
          </a:r>
          <a:r>
            <a:rPr lang="en-US" sz="1400" b="1" dirty="0"/>
            <a:t>, </a:t>
          </a:r>
          <a:r>
            <a:rPr lang="en-US" sz="1400" b="1" dirty="0" err="1"/>
            <a:t>kao</a:t>
          </a:r>
          <a:r>
            <a:rPr lang="en-US" sz="1400" b="1" dirty="0"/>
            <a:t> </a:t>
          </a:r>
          <a:r>
            <a:rPr lang="en-US" sz="1400" b="1" dirty="0" err="1"/>
            <a:t>što</a:t>
          </a:r>
          <a:r>
            <a:rPr lang="en-US" sz="1400" b="1" dirty="0"/>
            <a:t> je </a:t>
          </a:r>
          <a:r>
            <a:rPr lang="en-US" sz="1400" b="1" dirty="0" err="1"/>
            <a:t>trošak</a:t>
          </a:r>
          <a:r>
            <a:rPr lang="en-US" sz="1400" b="1" dirty="0"/>
            <a:t> </a:t>
          </a:r>
          <a:r>
            <a:rPr lang="en-US" sz="1400" b="1" dirty="0" err="1"/>
            <a:t>životnog</a:t>
          </a:r>
          <a:r>
            <a:rPr lang="en-US" sz="1400" b="1" dirty="0"/>
            <a:t> </a:t>
          </a:r>
          <a:r>
            <a:rPr lang="en-US" sz="1400" b="1" dirty="0" err="1"/>
            <a:t>ciklusa</a:t>
          </a:r>
          <a:r>
            <a:rPr lang="en-US" sz="1400" b="1" dirty="0"/>
            <a:t> u </a:t>
          </a:r>
          <a:r>
            <a:rPr lang="en-US" sz="1400" b="1" dirty="0" err="1"/>
            <a:t>skladu</a:t>
          </a:r>
          <a:r>
            <a:rPr lang="en-US" sz="1400" b="1" dirty="0"/>
            <a:t> </a:t>
          </a:r>
          <a:r>
            <a:rPr lang="en-US" sz="1400" b="1" dirty="0" err="1"/>
            <a:t>sa</a:t>
          </a:r>
          <a:r>
            <a:rPr lang="en-US" sz="1400" b="1" dirty="0"/>
            <a:t> </a:t>
          </a:r>
          <a:r>
            <a:rPr lang="en-US" sz="1400" b="1" dirty="0" err="1"/>
            <a:t>članom</a:t>
          </a:r>
          <a:r>
            <a:rPr lang="en-US" sz="1400" b="1" dirty="0"/>
            <a:t> 134.</a:t>
          </a:r>
        </a:p>
      </dgm:t>
    </dgm:pt>
    <dgm:pt modelId="{FE0C6EFE-5F93-4EF7-8045-C3D9919CE953}" type="parTrans" cxnId="{A8E7C662-84B7-4D32-84FD-570790505C36}">
      <dgm:prSet/>
      <dgm:spPr/>
      <dgm:t>
        <a:bodyPr/>
        <a:lstStyle/>
        <a:p>
          <a:endParaRPr lang="en-US"/>
        </a:p>
      </dgm:t>
    </dgm:pt>
    <dgm:pt modelId="{F9591ECE-DA56-4036-AB20-184FDCDE4A0D}" type="sibTrans" cxnId="{A8E7C662-84B7-4D32-84FD-570790505C36}">
      <dgm:prSet/>
      <dgm:spPr/>
      <dgm:t>
        <a:bodyPr/>
        <a:lstStyle/>
        <a:p>
          <a:endParaRPr lang="en-US"/>
        </a:p>
      </dgm:t>
    </dgm:pt>
    <dgm:pt modelId="{BCCEF112-1368-4BAE-BC15-22C18A3D33C7}">
      <dgm:prSet phldrT="[Text]" custT="1"/>
      <dgm:spPr/>
      <dgm:t>
        <a:bodyPr/>
        <a:lstStyle/>
        <a:p>
          <a:pPr algn="ctr">
            <a:buFont typeface="+mj-lt"/>
            <a:buAutoNum type="arabicPeriod"/>
          </a:pPr>
          <a:r>
            <a:rPr lang="en-US" sz="1400" b="1" u="none" dirty="0" err="1"/>
            <a:t>odnosa</a:t>
          </a:r>
          <a:r>
            <a:rPr lang="en-US" sz="1400" b="1" u="none" dirty="0"/>
            <a:t> </a:t>
          </a:r>
          <a:r>
            <a:rPr lang="en-US" sz="1400" b="1" u="none" dirty="0" err="1"/>
            <a:t>cene</a:t>
          </a:r>
          <a:r>
            <a:rPr lang="en-US" sz="1400" b="1" u="none" dirty="0"/>
            <a:t> </a:t>
          </a:r>
          <a:r>
            <a:rPr lang="en-US" sz="1400" b="1" u="none" dirty="0" err="1"/>
            <a:t>i</a:t>
          </a:r>
          <a:r>
            <a:rPr lang="en-US" sz="1400" b="1" u="none" dirty="0"/>
            <a:t> </a:t>
          </a:r>
          <a:r>
            <a:rPr lang="en-US" sz="1400" b="1" u="none" dirty="0" err="1"/>
            <a:t>kvaliteta</a:t>
          </a:r>
          <a:r>
            <a:rPr lang="en-US" sz="1400" b="1" u="none" dirty="0"/>
            <a:t>, </a:t>
          </a:r>
          <a:r>
            <a:rPr lang="en-US" sz="1400" b="1" u="none" dirty="0" err="1"/>
            <a:t>odnosno</a:t>
          </a:r>
          <a:r>
            <a:rPr lang="en-US" sz="1400" b="1" u="none" dirty="0"/>
            <a:t> </a:t>
          </a:r>
          <a:r>
            <a:rPr lang="en-US" sz="1400" b="1" u="none" dirty="0" err="1"/>
            <a:t>troška</a:t>
          </a:r>
          <a:r>
            <a:rPr lang="en-US" sz="1400" b="1" u="none" dirty="0"/>
            <a:t> </a:t>
          </a:r>
          <a:r>
            <a:rPr lang="en-US" sz="1400" b="1" u="none" dirty="0" err="1"/>
            <a:t>i</a:t>
          </a:r>
          <a:r>
            <a:rPr lang="en-US" sz="1400" b="1" u="none" dirty="0"/>
            <a:t> </a:t>
          </a:r>
          <a:r>
            <a:rPr lang="en-US" sz="1400" b="1" u="none" dirty="0" err="1"/>
            <a:t>kvaliteta</a:t>
          </a:r>
          <a:r>
            <a:rPr lang="en-US" sz="1400" b="1" u="none" dirty="0"/>
            <a:t> koji se </a:t>
          </a:r>
          <a:r>
            <a:rPr lang="en-US" sz="1400" b="1" u="none" dirty="0" err="1"/>
            <a:t>ocenjuje</a:t>
          </a:r>
          <a:r>
            <a:rPr lang="en-US" sz="1400" b="1" u="none" dirty="0"/>
            <a:t> </a:t>
          </a:r>
          <a:r>
            <a:rPr lang="en-US" sz="1400" b="1" u="none" dirty="0" err="1"/>
            <a:t>na</a:t>
          </a:r>
          <a:r>
            <a:rPr lang="en-US" sz="1400" b="1" u="none" dirty="0"/>
            <a:t> </a:t>
          </a:r>
          <a:r>
            <a:rPr lang="en-US" sz="1400" b="1" u="none" dirty="0" err="1"/>
            <a:t>osnovu</a:t>
          </a:r>
          <a:r>
            <a:rPr lang="en-US" sz="1400" b="1" u="none" dirty="0"/>
            <a:t> </a:t>
          </a:r>
          <a:r>
            <a:rPr lang="en-US" sz="1400" b="1" u="none" dirty="0" err="1"/>
            <a:t>kriterijuma</a:t>
          </a:r>
          <a:r>
            <a:rPr lang="en-US" sz="1400" b="1" u="none" dirty="0"/>
            <a:t>, </a:t>
          </a:r>
          <a:r>
            <a:rPr lang="en-US" sz="1400" b="1" u="none" dirty="0" err="1"/>
            <a:t>uključujući</a:t>
          </a:r>
          <a:r>
            <a:rPr lang="en-US" sz="1400" b="1" u="none" dirty="0"/>
            <a:t> </a:t>
          </a:r>
          <a:r>
            <a:rPr lang="en-US" sz="1400" b="1" u="none" dirty="0" err="1"/>
            <a:t>kvalitativne</a:t>
          </a:r>
          <a:r>
            <a:rPr lang="en-US" sz="1400" b="1" u="none" dirty="0"/>
            <a:t>, </a:t>
          </a:r>
          <a:r>
            <a:rPr lang="en-US" sz="1400" b="1" u="none" dirty="0" err="1"/>
            <a:t>ekološke</a:t>
          </a:r>
          <a:r>
            <a:rPr lang="en-US" sz="1400" b="1" u="none" dirty="0"/>
            <a:t> </a:t>
          </a:r>
          <a:r>
            <a:rPr lang="en-US" sz="1400" b="1" u="none" dirty="0" err="1"/>
            <a:t>i</a:t>
          </a:r>
          <a:r>
            <a:rPr lang="en-US" sz="1400" b="1" u="none" dirty="0"/>
            <a:t>/</a:t>
          </a:r>
          <a:r>
            <a:rPr lang="en-US" sz="1400" b="1" u="none" dirty="0" err="1"/>
            <a:t>ili</a:t>
          </a:r>
          <a:r>
            <a:rPr lang="en-US" sz="1400" b="1" u="none" dirty="0"/>
            <a:t> </a:t>
          </a:r>
          <a:r>
            <a:rPr lang="en-US" sz="1400" b="1" u="none" dirty="0" err="1"/>
            <a:t>socijalne</a:t>
          </a:r>
          <a:r>
            <a:rPr lang="en-US" sz="1400" b="1" u="none" dirty="0"/>
            <a:t> </a:t>
          </a:r>
          <a:r>
            <a:rPr lang="en-US" sz="1400" b="1" u="none" dirty="0" err="1"/>
            <a:t>aspekte</a:t>
          </a:r>
          <a:r>
            <a:rPr lang="en-US" sz="1400" b="1" u="none" dirty="0"/>
            <a:t>, </a:t>
          </a:r>
          <a:r>
            <a:rPr lang="en-US" sz="1400" b="1" u="none" dirty="0" err="1"/>
            <a:t>povezane</a:t>
          </a:r>
          <a:r>
            <a:rPr lang="en-US" sz="1400" b="1" u="none" dirty="0"/>
            <a:t> </a:t>
          </a:r>
          <a:r>
            <a:rPr lang="en-US" sz="1400" b="1" u="none" dirty="0" err="1"/>
            <a:t>sa</a:t>
          </a:r>
          <a:r>
            <a:rPr lang="en-US" sz="1400" b="1" u="none" dirty="0"/>
            <a:t> </a:t>
          </a:r>
          <a:r>
            <a:rPr lang="en-US" sz="1400" b="1" u="none" dirty="0" err="1"/>
            <a:t>predmetom</a:t>
          </a:r>
          <a:r>
            <a:rPr lang="en-US" sz="1400" b="1" u="none" dirty="0"/>
            <a:t> </a:t>
          </a:r>
          <a:r>
            <a:rPr lang="en-US" sz="1400" b="1" u="none" dirty="0" err="1"/>
            <a:t>ugovora</a:t>
          </a:r>
          <a:r>
            <a:rPr lang="en-US" sz="1400" b="1" u="none" dirty="0"/>
            <a:t> o </a:t>
          </a:r>
          <a:r>
            <a:rPr lang="en-US" sz="1400" b="1" u="none" dirty="0" err="1"/>
            <a:t>javnoj</a:t>
          </a:r>
          <a:r>
            <a:rPr lang="en-US" sz="1400" b="1" u="none" dirty="0"/>
            <a:t> </a:t>
          </a:r>
          <a:r>
            <a:rPr lang="en-US" sz="1400" b="1" u="none" dirty="0" err="1"/>
            <a:t>nabavci</a:t>
          </a:r>
          <a:endParaRPr lang="en-US" sz="1400" b="1" dirty="0"/>
        </a:p>
      </dgm:t>
    </dgm:pt>
    <dgm:pt modelId="{528F3E65-A892-4870-B9DB-7055D34F62D7}" type="parTrans" cxnId="{88A1D6E7-0948-46CA-B6FA-FD494BD684B3}">
      <dgm:prSet/>
      <dgm:spPr/>
      <dgm:t>
        <a:bodyPr/>
        <a:lstStyle/>
        <a:p>
          <a:endParaRPr lang="en-US"/>
        </a:p>
      </dgm:t>
    </dgm:pt>
    <dgm:pt modelId="{B5A60733-15AE-4105-9531-19BB639DF30C}" type="sibTrans" cxnId="{88A1D6E7-0948-46CA-B6FA-FD494BD684B3}">
      <dgm:prSet/>
      <dgm:spPr/>
      <dgm:t>
        <a:bodyPr/>
        <a:lstStyle/>
        <a:p>
          <a:endParaRPr lang="en-US"/>
        </a:p>
      </dgm:t>
    </dgm:pt>
    <dgm:pt modelId="{EC26120A-ABDE-480A-9941-AEEF2C2A7890}" type="pres">
      <dgm:prSet presAssocID="{D2FD75A8-33BE-47E6-919F-A18F17A7F23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4737088-3C2D-4C30-BEEE-CE727A5DCF9A}" type="pres">
      <dgm:prSet presAssocID="{04559E4F-908A-40D4-9EAF-3A5169C3B83C}" presName="hierRoot1" presStyleCnt="0">
        <dgm:presLayoutVars>
          <dgm:hierBranch val="init"/>
        </dgm:presLayoutVars>
      </dgm:prSet>
      <dgm:spPr/>
    </dgm:pt>
    <dgm:pt modelId="{F44C8572-1E4A-4C57-9731-29A350F3A642}" type="pres">
      <dgm:prSet presAssocID="{04559E4F-908A-40D4-9EAF-3A5169C3B83C}" presName="rootComposite1" presStyleCnt="0"/>
      <dgm:spPr/>
    </dgm:pt>
    <dgm:pt modelId="{8934CF56-8E20-42A3-8151-798970294A9D}" type="pres">
      <dgm:prSet presAssocID="{04559E4F-908A-40D4-9EAF-3A5169C3B83C}" presName="rootText1" presStyleLbl="node0" presStyleIdx="0" presStyleCnt="1" custScaleX="322914" custScaleY="120965" custLinFactNeighborX="609" custLinFactNeighborY="-44881">
        <dgm:presLayoutVars>
          <dgm:chPref val="3"/>
        </dgm:presLayoutVars>
      </dgm:prSet>
      <dgm:spPr/>
    </dgm:pt>
    <dgm:pt modelId="{A678F7E3-6071-4C19-8157-BF58FCC43DA9}" type="pres">
      <dgm:prSet presAssocID="{04559E4F-908A-40D4-9EAF-3A5169C3B83C}" presName="rootConnector1" presStyleLbl="asst0" presStyleIdx="0" presStyleCnt="0"/>
      <dgm:spPr/>
    </dgm:pt>
    <dgm:pt modelId="{C485DB6E-3DE1-4243-B3E1-268EDF3580F9}" type="pres">
      <dgm:prSet presAssocID="{04559E4F-908A-40D4-9EAF-3A5169C3B83C}" presName="hierChild2" presStyleCnt="0"/>
      <dgm:spPr/>
    </dgm:pt>
    <dgm:pt modelId="{D08DDCAF-3D87-4147-BB3C-C17514B6061E}" type="pres">
      <dgm:prSet presAssocID="{0062F759-B892-4788-A1EA-E6336F28E957}" presName="Name37" presStyleLbl="parChTrans1D2" presStyleIdx="0" presStyleCnt="3"/>
      <dgm:spPr/>
    </dgm:pt>
    <dgm:pt modelId="{EC93CEB7-EE2E-464C-B4B7-47BAEE804AE5}" type="pres">
      <dgm:prSet presAssocID="{261489B2-542A-44E4-985C-66790AE9B5CD}" presName="hierRoot2" presStyleCnt="0">
        <dgm:presLayoutVars>
          <dgm:hierBranch val="init"/>
        </dgm:presLayoutVars>
      </dgm:prSet>
      <dgm:spPr/>
    </dgm:pt>
    <dgm:pt modelId="{66260E8B-1BB3-4348-9981-B055126364E0}" type="pres">
      <dgm:prSet presAssocID="{261489B2-542A-44E4-985C-66790AE9B5CD}" presName="rootComposite" presStyleCnt="0"/>
      <dgm:spPr/>
    </dgm:pt>
    <dgm:pt modelId="{DEF9CB6B-69C3-4928-BA2A-43C23DE9A3BE}" type="pres">
      <dgm:prSet presAssocID="{261489B2-542A-44E4-985C-66790AE9B5CD}" presName="rootText" presStyleLbl="node2" presStyleIdx="0" presStyleCnt="3" custLinFactNeighborX="-1460" custLinFactNeighborY="62507">
        <dgm:presLayoutVars>
          <dgm:chPref val="3"/>
        </dgm:presLayoutVars>
      </dgm:prSet>
      <dgm:spPr/>
    </dgm:pt>
    <dgm:pt modelId="{990D2EB6-333E-4260-8917-16EA26F0C73D}" type="pres">
      <dgm:prSet presAssocID="{261489B2-542A-44E4-985C-66790AE9B5CD}" presName="rootConnector" presStyleLbl="node2" presStyleIdx="0" presStyleCnt="3"/>
      <dgm:spPr/>
    </dgm:pt>
    <dgm:pt modelId="{0CC2A4CB-A4C3-4DE8-A896-E3B7F001F0FC}" type="pres">
      <dgm:prSet presAssocID="{261489B2-542A-44E4-985C-66790AE9B5CD}" presName="hierChild4" presStyleCnt="0"/>
      <dgm:spPr/>
    </dgm:pt>
    <dgm:pt modelId="{AC33A719-3FEF-4E54-B10C-6F6EA228606F}" type="pres">
      <dgm:prSet presAssocID="{261489B2-542A-44E4-985C-66790AE9B5CD}" presName="hierChild5" presStyleCnt="0"/>
      <dgm:spPr/>
    </dgm:pt>
    <dgm:pt modelId="{E5676666-5A89-407B-83A1-59CA0106BDAB}" type="pres">
      <dgm:prSet presAssocID="{FE0C6EFE-5F93-4EF7-8045-C3D9919CE953}" presName="Name37" presStyleLbl="parChTrans1D2" presStyleIdx="1" presStyleCnt="3"/>
      <dgm:spPr/>
    </dgm:pt>
    <dgm:pt modelId="{7DE310DB-8C5B-4C1C-9D74-ECCC9E441A02}" type="pres">
      <dgm:prSet presAssocID="{D070923D-A65A-4B16-86BC-F42AC027141C}" presName="hierRoot2" presStyleCnt="0">
        <dgm:presLayoutVars>
          <dgm:hierBranch val="init"/>
        </dgm:presLayoutVars>
      </dgm:prSet>
      <dgm:spPr/>
    </dgm:pt>
    <dgm:pt modelId="{FDF023DC-832C-407D-ADE3-C11F2CD1FCC9}" type="pres">
      <dgm:prSet presAssocID="{D070923D-A65A-4B16-86BC-F42AC027141C}" presName="rootComposite" presStyleCnt="0"/>
      <dgm:spPr/>
    </dgm:pt>
    <dgm:pt modelId="{BEC2EFC9-68E4-4249-84E4-43C30C2E2C38}" type="pres">
      <dgm:prSet presAssocID="{D070923D-A65A-4B16-86BC-F42AC027141C}" presName="rootText" presStyleLbl="node2" presStyleIdx="1" presStyleCnt="3" custScaleX="240245" custScaleY="389950" custLinFactNeighborX="-3458" custLinFactNeighborY="62507">
        <dgm:presLayoutVars>
          <dgm:chPref val="3"/>
        </dgm:presLayoutVars>
      </dgm:prSet>
      <dgm:spPr/>
    </dgm:pt>
    <dgm:pt modelId="{5DDE081F-0653-46AB-A18E-F3548B869A64}" type="pres">
      <dgm:prSet presAssocID="{D070923D-A65A-4B16-86BC-F42AC027141C}" presName="rootConnector" presStyleLbl="node2" presStyleIdx="1" presStyleCnt="3"/>
      <dgm:spPr/>
    </dgm:pt>
    <dgm:pt modelId="{6BFAFB0F-B391-4BE8-A584-C65D4C6D06A0}" type="pres">
      <dgm:prSet presAssocID="{D070923D-A65A-4B16-86BC-F42AC027141C}" presName="hierChild4" presStyleCnt="0"/>
      <dgm:spPr/>
    </dgm:pt>
    <dgm:pt modelId="{97E36C9C-66BC-4E7F-B7A3-9D322D1056CC}" type="pres">
      <dgm:prSet presAssocID="{D070923D-A65A-4B16-86BC-F42AC027141C}" presName="hierChild5" presStyleCnt="0"/>
      <dgm:spPr/>
    </dgm:pt>
    <dgm:pt modelId="{806F1501-1675-4426-85C5-56C78FC49252}" type="pres">
      <dgm:prSet presAssocID="{528F3E65-A892-4870-B9DB-7055D34F62D7}" presName="Name37" presStyleLbl="parChTrans1D2" presStyleIdx="2" presStyleCnt="3"/>
      <dgm:spPr/>
    </dgm:pt>
    <dgm:pt modelId="{58B4CBAC-6319-47E8-B44A-81148466ABBA}" type="pres">
      <dgm:prSet presAssocID="{BCCEF112-1368-4BAE-BC15-22C18A3D33C7}" presName="hierRoot2" presStyleCnt="0">
        <dgm:presLayoutVars>
          <dgm:hierBranch val="init"/>
        </dgm:presLayoutVars>
      </dgm:prSet>
      <dgm:spPr/>
    </dgm:pt>
    <dgm:pt modelId="{ED0B6058-DF8B-4648-A8AF-AAD7F6DF6458}" type="pres">
      <dgm:prSet presAssocID="{BCCEF112-1368-4BAE-BC15-22C18A3D33C7}" presName="rootComposite" presStyleCnt="0"/>
      <dgm:spPr/>
    </dgm:pt>
    <dgm:pt modelId="{3364D0B8-B426-4C88-88CC-2C0C50360F4D}" type="pres">
      <dgm:prSet presAssocID="{BCCEF112-1368-4BAE-BC15-22C18A3D33C7}" presName="rootText" presStyleLbl="node2" presStyleIdx="2" presStyleCnt="3" custScaleX="327050" custScaleY="499409" custLinFactY="26043" custLinFactNeighborX="-1192" custLinFactNeighborY="100000">
        <dgm:presLayoutVars>
          <dgm:chPref val="3"/>
        </dgm:presLayoutVars>
      </dgm:prSet>
      <dgm:spPr/>
    </dgm:pt>
    <dgm:pt modelId="{17B3893A-2612-4107-BAFA-C89645246C83}" type="pres">
      <dgm:prSet presAssocID="{BCCEF112-1368-4BAE-BC15-22C18A3D33C7}" presName="rootConnector" presStyleLbl="node2" presStyleIdx="2" presStyleCnt="3"/>
      <dgm:spPr/>
    </dgm:pt>
    <dgm:pt modelId="{2C9C372C-CC46-458C-8375-B191C94B14EF}" type="pres">
      <dgm:prSet presAssocID="{BCCEF112-1368-4BAE-BC15-22C18A3D33C7}" presName="hierChild4" presStyleCnt="0"/>
      <dgm:spPr/>
    </dgm:pt>
    <dgm:pt modelId="{8D95FBC9-F592-4582-A29A-581850B02A38}" type="pres">
      <dgm:prSet presAssocID="{BCCEF112-1368-4BAE-BC15-22C18A3D33C7}" presName="hierChild5" presStyleCnt="0"/>
      <dgm:spPr/>
    </dgm:pt>
    <dgm:pt modelId="{F063B6F4-ABE6-4B4D-8FBB-65083B82B923}" type="pres">
      <dgm:prSet presAssocID="{04559E4F-908A-40D4-9EAF-3A5169C3B83C}" presName="hierChild3" presStyleCnt="0"/>
      <dgm:spPr/>
    </dgm:pt>
  </dgm:ptLst>
  <dgm:cxnLst>
    <dgm:cxn modelId="{43FC0C0D-B4A5-42EA-ACEB-AB66361F3144}" type="presOf" srcId="{D2FD75A8-33BE-47E6-919F-A18F17A7F233}" destId="{EC26120A-ABDE-480A-9941-AEEF2C2A7890}" srcOrd="0" destOrd="0" presId="urn:microsoft.com/office/officeart/2005/8/layout/orgChart1"/>
    <dgm:cxn modelId="{819FD517-DA13-40F8-BB72-2A54BFDFACCE}" type="presOf" srcId="{04559E4F-908A-40D4-9EAF-3A5169C3B83C}" destId="{A678F7E3-6071-4C19-8157-BF58FCC43DA9}" srcOrd="1" destOrd="0" presId="urn:microsoft.com/office/officeart/2005/8/layout/orgChart1"/>
    <dgm:cxn modelId="{3D9AD33F-05A1-4316-B5BC-79F5E5E3A5CF}" type="presOf" srcId="{FE0C6EFE-5F93-4EF7-8045-C3D9919CE953}" destId="{E5676666-5A89-407B-83A1-59CA0106BDAB}" srcOrd="0" destOrd="0" presId="urn:microsoft.com/office/officeart/2005/8/layout/orgChart1"/>
    <dgm:cxn modelId="{A8E7C662-84B7-4D32-84FD-570790505C36}" srcId="{04559E4F-908A-40D4-9EAF-3A5169C3B83C}" destId="{D070923D-A65A-4B16-86BC-F42AC027141C}" srcOrd="1" destOrd="0" parTransId="{FE0C6EFE-5F93-4EF7-8045-C3D9919CE953}" sibTransId="{F9591ECE-DA56-4036-AB20-184FDCDE4A0D}"/>
    <dgm:cxn modelId="{8794B566-3FA1-4E7D-A6E2-3C884BFCBAFA}" type="presOf" srcId="{BCCEF112-1368-4BAE-BC15-22C18A3D33C7}" destId="{3364D0B8-B426-4C88-88CC-2C0C50360F4D}" srcOrd="0" destOrd="0" presId="urn:microsoft.com/office/officeart/2005/8/layout/orgChart1"/>
    <dgm:cxn modelId="{DFD99668-23A7-475A-9501-CCA71347EDF8}" type="presOf" srcId="{528F3E65-A892-4870-B9DB-7055D34F62D7}" destId="{806F1501-1675-4426-85C5-56C78FC49252}" srcOrd="0" destOrd="0" presId="urn:microsoft.com/office/officeart/2005/8/layout/orgChart1"/>
    <dgm:cxn modelId="{1C7FD15A-C503-4DB3-9554-42B2FFA85F44}" type="presOf" srcId="{D070923D-A65A-4B16-86BC-F42AC027141C}" destId="{BEC2EFC9-68E4-4249-84E4-43C30C2E2C38}" srcOrd="0" destOrd="0" presId="urn:microsoft.com/office/officeart/2005/8/layout/orgChart1"/>
    <dgm:cxn modelId="{20402793-4913-4793-BE84-18AD84FF2F88}" type="presOf" srcId="{261489B2-542A-44E4-985C-66790AE9B5CD}" destId="{990D2EB6-333E-4260-8917-16EA26F0C73D}" srcOrd="1" destOrd="0" presId="urn:microsoft.com/office/officeart/2005/8/layout/orgChart1"/>
    <dgm:cxn modelId="{276AA0A4-5963-4F19-8619-78F2B8E5DB0D}" type="presOf" srcId="{04559E4F-908A-40D4-9EAF-3A5169C3B83C}" destId="{8934CF56-8E20-42A3-8151-798970294A9D}" srcOrd="0" destOrd="0" presId="urn:microsoft.com/office/officeart/2005/8/layout/orgChart1"/>
    <dgm:cxn modelId="{6C4862CC-344A-4A88-9D35-B9B74003FEA3}" type="presOf" srcId="{0062F759-B892-4788-A1EA-E6336F28E957}" destId="{D08DDCAF-3D87-4147-BB3C-C17514B6061E}" srcOrd="0" destOrd="0" presId="urn:microsoft.com/office/officeart/2005/8/layout/orgChart1"/>
    <dgm:cxn modelId="{E1A935D2-3EF7-4D1B-8E0D-2963681B1165}" type="presOf" srcId="{BCCEF112-1368-4BAE-BC15-22C18A3D33C7}" destId="{17B3893A-2612-4107-BAFA-C89645246C83}" srcOrd="1" destOrd="0" presId="urn:microsoft.com/office/officeart/2005/8/layout/orgChart1"/>
    <dgm:cxn modelId="{1EBBF6D3-10C5-4195-9082-5B9A37531CC0}" type="presOf" srcId="{D070923D-A65A-4B16-86BC-F42AC027141C}" destId="{5DDE081F-0653-46AB-A18E-F3548B869A64}" srcOrd="1" destOrd="0" presId="urn:microsoft.com/office/officeart/2005/8/layout/orgChart1"/>
    <dgm:cxn modelId="{B8C724D4-A15E-4463-A7FB-A0B0CBCA05D5}" srcId="{D2FD75A8-33BE-47E6-919F-A18F17A7F233}" destId="{04559E4F-908A-40D4-9EAF-3A5169C3B83C}" srcOrd="0" destOrd="0" parTransId="{30BF61F7-DD57-4A4A-BE8E-9723B4F4A258}" sibTransId="{1EEA8A47-D661-4FE1-A023-CE0DB30A4953}"/>
    <dgm:cxn modelId="{88A1D6E7-0948-46CA-B6FA-FD494BD684B3}" srcId="{04559E4F-908A-40D4-9EAF-3A5169C3B83C}" destId="{BCCEF112-1368-4BAE-BC15-22C18A3D33C7}" srcOrd="2" destOrd="0" parTransId="{528F3E65-A892-4870-B9DB-7055D34F62D7}" sibTransId="{B5A60733-15AE-4105-9531-19BB639DF30C}"/>
    <dgm:cxn modelId="{BBDE9EF9-5042-4DA9-83E7-18F80E2DC70C}" type="presOf" srcId="{261489B2-542A-44E4-985C-66790AE9B5CD}" destId="{DEF9CB6B-69C3-4928-BA2A-43C23DE9A3BE}" srcOrd="0" destOrd="0" presId="urn:microsoft.com/office/officeart/2005/8/layout/orgChart1"/>
    <dgm:cxn modelId="{893DCEFD-044A-4BA6-8D27-745D845086AA}" srcId="{04559E4F-908A-40D4-9EAF-3A5169C3B83C}" destId="{261489B2-542A-44E4-985C-66790AE9B5CD}" srcOrd="0" destOrd="0" parTransId="{0062F759-B892-4788-A1EA-E6336F28E957}" sibTransId="{E8CF82C3-EFB7-46A5-9A1E-11CF76ED9882}"/>
    <dgm:cxn modelId="{1CE83F5D-5809-4BA4-BC3C-4D0B98486E57}" type="presParOf" srcId="{EC26120A-ABDE-480A-9941-AEEF2C2A7890}" destId="{64737088-3C2D-4C30-BEEE-CE727A5DCF9A}" srcOrd="0" destOrd="0" presId="urn:microsoft.com/office/officeart/2005/8/layout/orgChart1"/>
    <dgm:cxn modelId="{B3F36384-219D-40EB-92AE-53C15336E4F4}" type="presParOf" srcId="{64737088-3C2D-4C30-BEEE-CE727A5DCF9A}" destId="{F44C8572-1E4A-4C57-9731-29A350F3A642}" srcOrd="0" destOrd="0" presId="urn:microsoft.com/office/officeart/2005/8/layout/orgChart1"/>
    <dgm:cxn modelId="{416A151B-FF1E-4263-B1D6-C21A0363C13B}" type="presParOf" srcId="{F44C8572-1E4A-4C57-9731-29A350F3A642}" destId="{8934CF56-8E20-42A3-8151-798970294A9D}" srcOrd="0" destOrd="0" presId="urn:microsoft.com/office/officeart/2005/8/layout/orgChart1"/>
    <dgm:cxn modelId="{4128570B-C7F5-4173-B33A-91A9DD61A23A}" type="presParOf" srcId="{F44C8572-1E4A-4C57-9731-29A350F3A642}" destId="{A678F7E3-6071-4C19-8157-BF58FCC43DA9}" srcOrd="1" destOrd="0" presId="urn:microsoft.com/office/officeart/2005/8/layout/orgChart1"/>
    <dgm:cxn modelId="{C53A3458-4F8A-4380-A2F8-6EC36FE79853}" type="presParOf" srcId="{64737088-3C2D-4C30-BEEE-CE727A5DCF9A}" destId="{C485DB6E-3DE1-4243-B3E1-268EDF3580F9}" srcOrd="1" destOrd="0" presId="urn:microsoft.com/office/officeart/2005/8/layout/orgChart1"/>
    <dgm:cxn modelId="{77E5F7E7-688B-42B4-8E4A-4C00BD50252E}" type="presParOf" srcId="{C485DB6E-3DE1-4243-B3E1-268EDF3580F9}" destId="{D08DDCAF-3D87-4147-BB3C-C17514B6061E}" srcOrd="0" destOrd="0" presId="urn:microsoft.com/office/officeart/2005/8/layout/orgChart1"/>
    <dgm:cxn modelId="{6A1FCB99-7220-492A-A4D7-E259037CD1C2}" type="presParOf" srcId="{C485DB6E-3DE1-4243-B3E1-268EDF3580F9}" destId="{EC93CEB7-EE2E-464C-B4B7-47BAEE804AE5}" srcOrd="1" destOrd="0" presId="urn:microsoft.com/office/officeart/2005/8/layout/orgChart1"/>
    <dgm:cxn modelId="{6A54FF11-8316-4335-86AE-E2BB3EDCFF00}" type="presParOf" srcId="{EC93CEB7-EE2E-464C-B4B7-47BAEE804AE5}" destId="{66260E8B-1BB3-4348-9981-B055126364E0}" srcOrd="0" destOrd="0" presId="urn:microsoft.com/office/officeart/2005/8/layout/orgChart1"/>
    <dgm:cxn modelId="{48F25480-E3D1-456C-B97E-F4473E16BEB6}" type="presParOf" srcId="{66260E8B-1BB3-4348-9981-B055126364E0}" destId="{DEF9CB6B-69C3-4928-BA2A-43C23DE9A3BE}" srcOrd="0" destOrd="0" presId="urn:microsoft.com/office/officeart/2005/8/layout/orgChart1"/>
    <dgm:cxn modelId="{DAAFDCA6-99AF-440F-BEAF-8063C5C06F6D}" type="presParOf" srcId="{66260E8B-1BB3-4348-9981-B055126364E0}" destId="{990D2EB6-333E-4260-8917-16EA26F0C73D}" srcOrd="1" destOrd="0" presId="urn:microsoft.com/office/officeart/2005/8/layout/orgChart1"/>
    <dgm:cxn modelId="{57721177-35BD-4835-BBEC-E85A2723F3ED}" type="presParOf" srcId="{EC93CEB7-EE2E-464C-B4B7-47BAEE804AE5}" destId="{0CC2A4CB-A4C3-4DE8-A896-E3B7F001F0FC}" srcOrd="1" destOrd="0" presId="urn:microsoft.com/office/officeart/2005/8/layout/orgChart1"/>
    <dgm:cxn modelId="{29F51D51-CA79-45BD-9200-5C23FC6E2FC5}" type="presParOf" srcId="{EC93CEB7-EE2E-464C-B4B7-47BAEE804AE5}" destId="{AC33A719-3FEF-4E54-B10C-6F6EA228606F}" srcOrd="2" destOrd="0" presId="urn:microsoft.com/office/officeart/2005/8/layout/orgChart1"/>
    <dgm:cxn modelId="{305EEBB7-38C5-4EAD-884E-2F06D87449C1}" type="presParOf" srcId="{C485DB6E-3DE1-4243-B3E1-268EDF3580F9}" destId="{E5676666-5A89-407B-83A1-59CA0106BDAB}" srcOrd="2" destOrd="0" presId="urn:microsoft.com/office/officeart/2005/8/layout/orgChart1"/>
    <dgm:cxn modelId="{47EC18F2-9D01-49D5-91C4-FB8FDB25EA79}" type="presParOf" srcId="{C485DB6E-3DE1-4243-B3E1-268EDF3580F9}" destId="{7DE310DB-8C5B-4C1C-9D74-ECCC9E441A02}" srcOrd="3" destOrd="0" presId="urn:microsoft.com/office/officeart/2005/8/layout/orgChart1"/>
    <dgm:cxn modelId="{D7427067-925E-4077-8F5D-1A258F9BD3E6}" type="presParOf" srcId="{7DE310DB-8C5B-4C1C-9D74-ECCC9E441A02}" destId="{FDF023DC-832C-407D-ADE3-C11F2CD1FCC9}" srcOrd="0" destOrd="0" presId="urn:microsoft.com/office/officeart/2005/8/layout/orgChart1"/>
    <dgm:cxn modelId="{2A405BFD-F456-4B5C-880F-E97377866674}" type="presParOf" srcId="{FDF023DC-832C-407D-ADE3-C11F2CD1FCC9}" destId="{BEC2EFC9-68E4-4249-84E4-43C30C2E2C38}" srcOrd="0" destOrd="0" presId="urn:microsoft.com/office/officeart/2005/8/layout/orgChart1"/>
    <dgm:cxn modelId="{022B7B83-0536-48BC-BC1B-9ACEEB17EDC9}" type="presParOf" srcId="{FDF023DC-832C-407D-ADE3-C11F2CD1FCC9}" destId="{5DDE081F-0653-46AB-A18E-F3548B869A64}" srcOrd="1" destOrd="0" presId="urn:microsoft.com/office/officeart/2005/8/layout/orgChart1"/>
    <dgm:cxn modelId="{38FB9482-10AF-436D-B0DF-CC57CC0F46E2}" type="presParOf" srcId="{7DE310DB-8C5B-4C1C-9D74-ECCC9E441A02}" destId="{6BFAFB0F-B391-4BE8-A584-C65D4C6D06A0}" srcOrd="1" destOrd="0" presId="urn:microsoft.com/office/officeart/2005/8/layout/orgChart1"/>
    <dgm:cxn modelId="{E57A90A4-6041-40B8-98C2-6067D680F2B1}" type="presParOf" srcId="{7DE310DB-8C5B-4C1C-9D74-ECCC9E441A02}" destId="{97E36C9C-66BC-4E7F-B7A3-9D322D1056CC}" srcOrd="2" destOrd="0" presId="urn:microsoft.com/office/officeart/2005/8/layout/orgChart1"/>
    <dgm:cxn modelId="{D2ED36A1-B791-47CE-B74D-F03C690EAAEF}" type="presParOf" srcId="{C485DB6E-3DE1-4243-B3E1-268EDF3580F9}" destId="{806F1501-1675-4426-85C5-56C78FC49252}" srcOrd="4" destOrd="0" presId="urn:microsoft.com/office/officeart/2005/8/layout/orgChart1"/>
    <dgm:cxn modelId="{5AFAB137-E5AD-4593-BC86-70D87BA497F6}" type="presParOf" srcId="{C485DB6E-3DE1-4243-B3E1-268EDF3580F9}" destId="{58B4CBAC-6319-47E8-B44A-81148466ABBA}" srcOrd="5" destOrd="0" presId="urn:microsoft.com/office/officeart/2005/8/layout/orgChart1"/>
    <dgm:cxn modelId="{7ED96A2A-D5BF-44BC-98E5-D1D5B66F9BBD}" type="presParOf" srcId="{58B4CBAC-6319-47E8-B44A-81148466ABBA}" destId="{ED0B6058-DF8B-4648-A8AF-AAD7F6DF6458}" srcOrd="0" destOrd="0" presId="urn:microsoft.com/office/officeart/2005/8/layout/orgChart1"/>
    <dgm:cxn modelId="{452F04AA-135C-46B0-901D-B0D47817C3D8}" type="presParOf" srcId="{ED0B6058-DF8B-4648-A8AF-AAD7F6DF6458}" destId="{3364D0B8-B426-4C88-88CC-2C0C50360F4D}" srcOrd="0" destOrd="0" presId="urn:microsoft.com/office/officeart/2005/8/layout/orgChart1"/>
    <dgm:cxn modelId="{AAECF2D2-4DDF-42C7-A15B-41CB060222EA}" type="presParOf" srcId="{ED0B6058-DF8B-4648-A8AF-AAD7F6DF6458}" destId="{17B3893A-2612-4107-BAFA-C89645246C83}" srcOrd="1" destOrd="0" presId="urn:microsoft.com/office/officeart/2005/8/layout/orgChart1"/>
    <dgm:cxn modelId="{8B481415-F618-4464-9426-30B39A03CBCB}" type="presParOf" srcId="{58B4CBAC-6319-47E8-B44A-81148466ABBA}" destId="{2C9C372C-CC46-458C-8375-B191C94B14EF}" srcOrd="1" destOrd="0" presId="urn:microsoft.com/office/officeart/2005/8/layout/orgChart1"/>
    <dgm:cxn modelId="{5B628F54-96ED-41FE-B99E-7E26132992C0}" type="presParOf" srcId="{58B4CBAC-6319-47E8-B44A-81148466ABBA}" destId="{8D95FBC9-F592-4582-A29A-581850B02A38}" srcOrd="2" destOrd="0" presId="urn:microsoft.com/office/officeart/2005/8/layout/orgChart1"/>
    <dgm:cxn modelId="{571C7551-31F1-4E96-A624-3DE296A8183F}" type="presParOf" srcId="{64737088-3C2D-4C30-BEEE-CE727A5DCF9A}" destId="{F063B6F4-ABE6-4B4D-8FBB-65083B82B92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0612C1B-7684-416D-9B1B-7591D0B6CD0D}" type="doc">
      <dgm:prSet loTypeId="urn:microsoft.com/office/officeart/2005/8/layout/vList3" loCatId="list" qsTypeId="urn:microsoft.com/office/officeart/2005/8/quickstyle/simple1" qsCatId="simple" csTypeId="urn:microsoft.com/office/officeart/2005/8/colors/accent6_2" csCatId="accent6" phldr="1"/>
      <dgm:spPr/>
    </dgm:pt>
    <dgm:pt modelId="{A9AD5533-5D9C-4A9B-AF1F-F3DF6BD3B72B}">
      <dgm:prSet phldrT="[Text]" custT="1"/>
      <dgm:spPr/>
      <dgm:t>
        <a:bodyPr/>
        <a:lstStyle/>
        <a:p>
          <a:pPr algn="l"/>
          <a:r>
            <a:rPr lang="sr-Latn-RS" sz="1300" b="1" dirty="0"/>
            <a:t>45 proizvoda (u 52 dokumenta) – cilj je 100% održivih nabavki;</a:t>
          </a:r>
          <a:endParaRPr lang="en-US" sz="1300" b="1" dirty="0"/>
        </a:p>
      </dgm:t>
    </dgm:pt>
    <dgm:pt modelId="{BC606F7A-B1F4-4878-B296-8B647A9F7161}" type="parTrans" cxnId="{FA454583-03CA-4B89-B3AD-C84801095D87}">
      <dgm:prSet/>
      <dgm:spPr/>
      <dgm:t>
        <a:bodyPr/>
        <a:lstStyle/>
        <a:p>
          <a:endParaRPr lang="en-US"/>
        </a:p>
      </dgm:t>
    </dgm:pt>
    <dgm:pt modelId="{BD42A9BB-3DCF-4D3F-8543-5DF85C00F91C}" type="sibTrans" cxnId="{FA454583-03CA-4B89-B3AD-C84801095D87}">
      <dgm:prSet/>
      <dgm:spPr/>
      <dgm:t>
        <a:bodyPr/>
        <a:lstStyle/>
        <a:p>
          <a:endParaRPr lang="en-US"/>
        </a:p>
      </dgm:t>
    </dgm:pt>
    <dgm:pt modelId="{15F1D2C9-1609-41C8-BD4F-9899FB2DD20C}">
      <dgm:prSet phldrT="[Text]" custT="1"/>
      <dgm:spPr/>
      <dgm:t>
        <a:bodyPr/>
        <a:lstStyle/>
        <a:p>
          <a:pPr algn="l"/>
          <a:r>
            <a:rPr lang="sr-Latn-RS" sz="1000" b="1" dirty="0"/>
            <a:t>Papir za štampu</a:t>
          </a:r>
          <a:r>
            <a:rPr lang="en-US" sz="1000" b="1" dirty="0"/>
            <a:t>, </a:t>
          </a:r>
          <a:r>
            <a:rPr lang="en-US" sz="1000" b="1" dirty="0" err="1"/>
            <a:t>računari</a:t>
          </a:r>
          <a:r>
            <a:rPr lang="en-US" sz="1000" b="1" dirty="0"/>
            <a:t> </a:t>
          </a:r>
          <a:r>
            <a:rPr lang="en-US" sz="1000" b="1" dirty="0" err="1"/>
            <a:t>i</a:t>
          </a:r>
          <a:r>
            <a:rPr lang="en-US" sz="1000" b="1" dirty="0"/>
            <a:t> </a:t>
          </a:r>
          <a:r>
            <a:rPr lang="en-US" sz="1000" b="1" dirty="0" err="1"/>
            <a:t>monitori</a:t>
          </a:r>
          <a:r>
            <a:rPr lang="en-US" sz="1000" b="1" dirty="0"/>
            <a:t>, LED </a:t>
          </a:r>
          <a:r>
            <a:rPr lang="en-US" sz="1000" b="1" dirty="0" err="1"/>
            <a:t>lampe</a:t>
          </a:r>
          <a:r>
            <a:rPr lang="en-US" sz="1000" b="1" dirty="0"/>
            <a:t>, </a:t>
          </a:r>
          <a:r>
            <a:rPr lang="en-US" sz="1000" b="1" dirty="0" err="1"/>
            <a:t>klima</a:t>
          </a:r>
          <a:r>
            <a:rPr lang="en-US" sz="1000" b="1" dirty="0"/>
            <a:t> </a:t>
          </a:r>
          <a:r>
            <a:rPr lang="en-US" sz="1000" b="1" dirty="0" err="1"/>
            <a:t>uređaji</a:t>
          </a:r>
          <a:r>
            <a:rPr lang="en-US" sz="1000" b="1" dirty="0"/>
            <a:t>, </a:t>
          </a:r>
          <a:r>
            <a:rPr lang="sr-Latn-RS" sz="1000" b="1" dirty="0"/>
            <a:t>maziva, </a:t>
          </a:r>
          <a:r>
            <a:rPr lang="en-US" sz="1000" b="1" dirty="0" err="1"/>
            <a:t>drumski</a:t>
          </a:r>
          <a:r>
            <a:rPr lang="en-US" sz="1000" b="1" dirty="0"/>
            <a:t> transport, </a:t>
          </a:r>
          <a:r>
            <a:rPr lang="sr-Latn-RS" sz="1000" b="1" dirty="0"/>
            <a:t>rasveta </a:t>
          </a:r>
          <a:r>
            <a:rPr lang="en-US" sz="1000" b="1" dirty="0" err="1"/>
            <a:t>i</a:t>
          </a:r>
          <a:r>
            <a:rPr lang="en-US" sz="1000" b="1" dirty="0"/>
            <a:t> </a:t>
          </a:r>
          <a:r>
            <a:rPr lang="en-US" sz="1000" b="1" dirty="0" err="1"/>
            <a:t>saobraćajna</a:t>
          </a:r>
          <a:r>
            <a:rPr lang="en-US" sz="1000" b="1" dirty="0"/>
            <a:t> </a:t>
          </a:r>
          <a:r>
            <a:rPr lang="en-US" sz="1000" b="1" dirty="0" err="1"/>
            <a:t>signalizacija</a:t>
          </a:r>
          <a:r>
            <a:rPr lang="sr-Latn-RS" sz="1000" b="1" dirty="0"/>
            <a:t>.</a:t>
          </a:r>
          <a:endParaRPr lang="en-US" sz="1000" b="1" dirty="0"/>
        </a:p>
      </dgm:t>
    </dgm:pt>
    <dgm:pt modelId="{B0A45710-B5A0-40F9-A4CB-68B0E5AF85C0}" type="parTrans" cxnId="{33BD8794-6F85-4B0A-B0F6-5966580A69BD}">
      <dgm:prSet/>
      <dgm:spPr/>
      <dgm:t>
        <a:bodyPr/>
        <a:lstStyle/>
        <a:p>
          <a:endParaRPr lang="en-US"/>
        </a:p>
      </dgm:t>
    </dgm:pt>
    <dgm:pt modelId="{ACD60F2D-AE6F-47E2-A6EA-6D95D99A45C0}" type="sibTrans" cxnId="{33BD8794-6F85-4B0A-B0F6-5966580A69BD}">
      <dgm:prSet/>
      <dgm:spPr/>
      <dgm:t>
        <a:bodyPr/>
        <a:lstStyle/>
        <a:p>
          <a:endParaRPr lang="en-US"/>
        </a:p>
      </dgm:t>
    </dgm:pt>
    <dgm:pt modelId="{DC22B34E-2554-47C2-BC7E-BDB717A92A2F}">
      <dgm:prSet phldrT="[Text]" custT="1"/>
      <dgm:spPr/>
      <dgm:t>
        <a:bodyPr/>
        <a:lstStyle/>
        <a:p>
          <a:pPr algn="l"/>
          <a:r>
            <a:rPr lang="en-US" sz="1000" b="1" dirty="0" err="1"/>
            <a:t>Grenelle</a:t>
          </a:r>
          <a:r>
            <a:rPr lang="en-US" sz="1000" b="1" dirty="0"/>
            <a:t> 1 </a:t>
          </a:r>
          <a:r>
            <a:rPr lang="en-US" sz="1000" b="1" dirty="0" err="1"/>
            <a:t>član</a:t>
          </a:r>
          <a:r>
            <a:rPr lang="en-US" sz="1000" b="1" dirty="0"/>
            <a:t> 48</a:t>
          </a:r>
          <a:r>
            <a:rPr lang="sr-Latn-RS" sz="1000" b="1" dirty="0"/>
            <a:t>.</a:t>
          </a:r>
          <a:r>
            <a:rPr lang="en-US" sz="1000" b="1" dirty="0"/>
            <a:t> </a:t>
          </a:r>
          <a:r>
            <a:rPr lang="en-US" sz="1000" b="1" dirty="0" err="1"/>
            <a:t>postavlja</a:t>
          </a:r>
          <a:r>
            <a:rPr lang="en-US" sz="1000" b="1" dirty="0"/>
            <a:t> </a:t>
          </a:r>
          <a:r>
            <a:rPr lang="en-US" sz="1000" b="1" dirty="0" err="1"/>
            <a:t>obavezne</a:t>
          </a:r>
          <a:r>
            <a:rPr lang="en-US" sz="1000" b="1" dirty="0"/>
            <a:t>: </a:t>
          </a:r>
          <a:r>
            <a:rPr lang="en-US" sz="1000" b="1" dirty="0" err="1"/>
            <a:t>vozila</a:t>
          </a:r>
          <a:r>
            <a:rPr lang="en-US" sz="1000" b="1" dirty="0"/>
            <a:t>, </a:t>
          </a:r>
          <a:r>
            <a:rPr lang="en-US" sz="1000" b="1" dirty="0" err="1"/>
            <a:t>komunikaciona</a:t>
          </a:r>
          <a:r>
            <a:rPr lang="en-US" sz="1000" b="1" dirty="0"/>
            <a:t> </a:t>
          </a:r>
          <a:r>
            <a:rPr lang="en-US" sz="1000" b="1" dirty="0" err="1"/>
            <a:t>tehnologija</a:t>
          </a:r>
          <a:r>
            <a:rPr lang="en-US" sz="1000" b="1" dirty="0"/>
            <a:t>,</a:t>
          </a:r>
          <a:r>
            <a:rPr lang="sr-Latn-RS" sz="1000" b="1" dirty="0"/>
            <a:t> nameštaj</a:t>
          </a:r>
          <a:r>
            <a:rPr lang="en-US" sz="1000" b="1" dirty="0"/>
            <a:t>, </a:t>
          </a:r>
          <a:r>
            <a:rPr lang="en-US" sz="1000" b="1" dirty="0" err="1"/>
            <a:t>hran</a:t>
          </a:r>
          <a:r>
            <a:rPr lang="sr-Latn-RS" sz="1000" b="1" dirty="0"/>
            <a:t>a</a:t>
          </a:r>
          <a:r>
            <a:rPr lang="en-US" sz="1000" b="1" dirty="0"/>
            <a:t>, </a:t>
          </a:r>
          <a:r>
            <a:rPr lang="en-US" sz="1000" b="1" dirty="0" err="1"/>
            <a:t>automobil</a:t>
          </a:r>
          <a:r>
            <a:rPr lang="sr-Latn-RS" sz="1000" b="1" dirty="0"/>
            <a:t>e</a:t>
          </a:r>
          <a:r>
            <a:rPr lang="en-US" sz="1000" b="1" dirty="0"/>
            <a:t> </a:t>
          </a:r>
          <a:r>
            <a:rPr lang="en-US" sz="1000" b="1" dirty="0" err="1"/>
            <a:t>i</a:t>
          </a:r>
          <a:r>
            <a:rPr lang="en-US" sz="1000" b="1" dirty="0"/>
            <a:t> </a:t>
          </a:r>
          <a:r>
            <a:rPr lang="en-US" sz="1000" b="1" dirty="0" err="1"/>
            <a:t>stvaranje</a:t>
          </a:r>
          <a:r>
            <a:rPr lang="en-US" sz="1000" b="1" dirty="0"/>
            <a:t> </a:t>
          </a:r>
          <a:r>
            <a:rPr lang="en-US" sz="1000" b="1" dirty="0" err="1"/>
            <a:t>ugljeničnog</a:t>
          </a:r>
          <a:r>
            <a:rPr lang="en-US" sz="1000" b="1" dirty="0"/>
            <a:t> </a:t>
          </a:r>
          <a:r>
            <a:rPr lang="en-US" sz="1000" b="1" dirty="0" err="1"/>
            <a:t>otiska</a:t>
          </a:r>
          <a:r>
            <a:rPr lang="en-US" sz="1000" b="1" dirty="0"/>
            <a:t> </a:t>
          </a:r>
          <a:r>
            <a:rPr lang="en-US" sz="1000" b="1" dirty="0" err="1"/>
            <a:t>na</a:t>
          </a:r>
          <a:r>
            <a:rPr lang="en-US" sz="1000" b="1" dirty="0"/>
            <a:t> </a:t>
          </a:r>
          <a:r>
            <a:rPr lang="en-US" sz="1000" b="1" dirty="0" err="1"/>
            <a:t>državnim</a:t>
          </a:r>
          <a:r>
            <a:rPr lang="en-US" sz="1000" b="1" dirty="0"/>
            <a:t> </a:t>
          </a:r>
          <a:r>
            <a:rPr lang="en-US" sz="1000" b="1" dirty="0" err="1"/>
            <a:t>zgradama</a:t>
          </a:r>
          <a:r>
            <a:rPr lang="en-US" sz="1000" b="1" dirty="0"/>
            <a:t>.</a:t>
          </a:r>
        </a:p>
      </dgm:t>
    </dgm:pt>
    <dgm:pt modelId="{6B0F1984-6625-45B0-8E45-304DA503EB58}" type="parTrans" cxnId="{1F95A153-2816-475D-99E7-AFB22221CA4C}">
      <dgm:prSet/>
      <dgm:spPr/>
      <dgm:t>
        <a:bodyPr/>
        <a:lstStyle/>
        <a:p>
          <a:endParaRPr lang="en-US"/>
        </a:p>
      </dgm:t>
    </dgm:pt>
    <dgm:pt modelId="{5DD4FF2F-C89E-4E70-8767-0FF46EB5394E}" type="sibTrans" cxnId="{1F95A153-2816-475D-99E7-AFB22221CA4C}">
      <dgm:prSet/>
      <dgm:spPr/>
      <dgm:t>
        <a:bodyPr/>
        <a:lstStyle/>
        <a:p>
          <a:endParaRPr lang="en-US"/>
        </a:p>
      </dgm:t>
    </dgm:pt>
    <dgm:pt modelId="{03ED2A84-7C41-44CC-B2EC-EF00143D911F}" type="pres">
      <dgm:prSet presAssocID="{30612C1B-7684-416D-9B1B-7591D0B6CD0D}" presName="linearFlow" presStyleCnt="0">
        <dgm:presLayoutVars>
          <dgm:dir/>
          <dgm:resizeHandles val="exact"/>
        </dgm:presLayoutVars>
      </dgm:prSet>
      <dgm:spPr/>
    </dgm:pt>
    <dgm:pt modelId="{A9951E5E-98BB-4820-A087-FB691F9536C4}" type="pres">
      <dgm:prSet presAssocID="{A9AD5533-5D9C-4A9B-AF1F-F3DF6BD3B72B}" presName="composite" presStyleCnt="0"/>
      <dgm:spPr/>
    </dgm:pt>
    <dgm:pt modelId="{E16372A6-5C5E-43C2-8EEE-251D40DE1536}" type="pres">
      <dgm:prSet presAssocID="{A9AD5533-5D9C-4A9B-AF1F-F3DF6BD3B72B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B1F46A9C-5493-4B60-9E56-6A0250C4ADB9}" type="pres">
      <dgm:prSet presAssocID="{A9AD5533-5D9C-4A9B-AF1F-F3DF6BD3B72B}" presName="txShp" presStyleLbl="node1" presStyleIdx="0" presStyleCnt="3">
        <dgm:presLayoutVars>
          <dgm:bulletEnabled val="1"/>
        </dgm:presLayoutVars>
      </dgm:prSet>
      <dgm:spPr/>
    </dgm:pt>
    <dgm:pt modelId="{9963E2DF-D464-41C7-879D-C16859022E12}" type="pres">
      <dgm:prSet presAssocID="{BD42A9BB-3DCF-4D3F-8543-5DF85C00F91C}" presName="spacing" presStyleCnt="0"/>
      <dgm:spPr/>
    </dgm:pt>
    <dgm:pt modelId="{C3E6140C-6DF5-40E8-9969-371EAC261B3E}" type="pres">
      <dgm:prSet presAssocID="{15F1D2C9-1609-41C8-BD4F-9899FB2DD20C}" presName="composite" presStyleCnt="0"/>
      <dgm:spPr/>
    </dgm:pt>
    <dgm:pt modelId="{BA28A9C3-C520-45D7-8C58-3FEC8A1B1A59}" type="pres">
      <dgm:prSet presAssocID="{15F1D2C9-1609-41C8-BD4F-9899FB2DD20C}" presName="imgShp" presStyleLbl="fgImgPlace1" presStyleIdx="1" presStyleCnt="3" custLinFactNeighborX="7126" custLinFactNeighborY="0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51A7D10A-4F66-4C68-BDBD-2E37AD268ADF}" type="pres">
      <dgm:prSet presAssocID="{15F1D2C9-1609-41C8-BD4F-9899FB2DD20C}" presName="txShp" presStyleLbl="node1" presStyleIdx="1" presStyleCnt="3">
        <dgm:presLayoutVars>
          <dgm:bulletEnabled val="1"/>
        </dgm:presLayoutVars>
      </dgm:prSet>
      <dgm:spPr/>
    </dgm:pt>
    <dgm:pt modelId="{B672D4E2-9D0E-4B7E-AE08-F2E38E54AAC0}" type="pres">
      <dgm:prSet presAssocID="{ACD60F2D-AE6F-47E2-A6EA-6D95D99A45C0}" presName="spacing" presStyleCnt="0"/>
      <dgm:spPr/>
    </dgm:pt>
    <dgm:pt modelId="{03280FF5-9C73-4945-BBB6-A404C07EB80B}" type="pres">
      <dgm:prSet presAssocID="{DC22B34E-2554-47C2-BC7E-BDB717A92A2F}" presName="composite" presStyleCnt="0"/>
      <dgm:spPr/>
    </dgm:pt>
    <dgm:pt modelId="{B4D6685B-A46C-4B33-B544-8BD0D4EF0D74}" type="pres">
      <dgm:prSet presAssocID="{DC22B34E-2554-47C2-BC7E-BDB717A92A2F}" presName="imgShp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</dgm:spPr>
    </dgm:pt>
    <dgm:pt modelId="{2C10F51F-2AD9-499D-BCAD-503378365B79}" type="pres">
      <dgm:prSet presAssocID="{DC22B34E-2554-47C2-BC7E-BDB717A92A2F}" presName="txShp" presStyleLbl="node1" presStyleIdx="2" presStyleCnt="3">
        <dgm:presLayoutVars>
          <dgm:bulletEnabled val="1"/>
        </dgm:presLayoutVars>
      </dgm:prSet>
      <dgm:spPr/>
    </dgm:pt>
  </dgm:ptLst>
  <dgm:cxnLst>
    <dgm:cxn modelId="{B3C6D215-C540-4E1A-905F-9325337E8230}" type="presOf" srcId="{DC22B34E-2554-47C2-BC7E-BDB717A92A2F}" destId="{2C10F51F-2AD9-499D-BCAD-503378365B79}" srcOrd="0" destOrd="0" presId="urn:microsoft.com/office/officeart/2005/8/layout/vList3"/>
    <dgm:cxn modelId="{1596B231-5C06-4FC7-849D-9D49DDCE2CF4}" type="presOf" srcId="{30612C1B-7684-416D-9B1B-7591D0B6CD0D}" destId="{03ED2A84-7C41-44CC-B2EC-EF00143D911F}" srcOrd="0" destOrd="0" presId="urn:microsoft.com/office/officeart/2005/8/layout/vList3"/>
    <dgm:cxn modelId="{1F95A153-2816-475D-99E7-AFB22221CA4C}" srcId="{30612C1B-7684-416D-9B1B-7591D0B6CD0D}" destId="{DC22B34E-2554-47C2-BC7E-BDB717A92A2F}" srcOrd="2" destOrd="0" parTransId="{6B0F1984-6625-45B0-8E45-304DA503EB58}" sibTransId="{5DD4FF2F-C89E-4E70-8767-0FF46EB5394E}"/>
    <dgm:cxn modelId="{FA454583-03CA-4B89-B3AD-C84801095D87}" srcId="{30612C1B-7684-416D-9B1B-7591D0B6CD0D}" destId="{A9AD5533-5D9C-4A9B-AF1F-F3DF6BD3B72B}" srcOrd="0" destOrd="0" parTransId="{BC606F7A-B1F4-4878-B296-8B647A9F7161}" sibTransId="{BD42A9BB-3DCF-4D3F-8543-5DF85C00F91C}"/>
    <dgm:cxn modelId="{33BD8794-6F85-4B0A-B0F6-5966580A69BD}" srcId="{30612C1B-7684-416D-9B1B-7591D0B6CD0D}" destId="{15F1D2C9-1609-41C8-BD4F-9899FB2DD20C}" srcOrd="1" destOrd="0" parTransId="{B0A45710-B5A0-40F9-A4CB-68B0E5AF85C0}" sibTransId="{ACD60F2D-AE6F-47E2-A6EA-6D95D99A45C0}"/>
    <dgm:cxn modelId="{5760A6C0-850C-4150-94D6-76FC0BF7A080}" type="presOf" srcId="{A9AD5533-5D9C-4A9B-AF1F-F3DF6BD3B72B}" destId="{B1F46A9C-5493-4B60-9E56-6A0250C4ADB9}" srcOrd="0" destOrd="0" presId="urn:microsoft.com/office/officeart/2005/8/layout/vList3"/>
    <dgm:cxn modelId="{78337BEE-1A06-4CD8-A804-4D8337AAE58A}" type="presOf" srcId="{15F1D2C9-1609-41C8-BD4F-9899FB2DD20C}" destId="{51A7D10A-4F66-4C68-BDBD-2E37AD268ADF}" srcOrd="0" destOrd="0" presId="urn:microsoft.com/office/officeart/2005/8/layout/vList3"/>
    <dgm:cxn modelId="{4D0F6C95-B1BF-4692-86B9-66317E2B6D65}" type="presParOf" srcId="{03ED2A84-7C41-44CC-B2EC-EF00143D911F}" destId="{A9951E5E-98BB-4820-A087-FB691F9536C4}" srcOrd="0" destOrd="0" presId="urn:microsoft.com/office/officeart/2005/8/layout/vList3"/>
    <dgm:cxn modelId="{203E7051-FCDC-4773-8F70-CB2FEFC26607}" type="presParOf" srcId="{A9951E5E-98BB-4820-A087-FB691F9536C4}" destId="{E16372A6-5C5E-43C2-8EEE-251D40DE1536}" srcOrd="0" destOrd="0" presId="urn:microsoft.com/office/officeart/2005/8/layout/vList3"/>
    <dgm:cxn modelId="{23217ABD-7B43-49F6-9F78-93D9823A0434}" type="presParOf" srcId="{A9951E5E-98BB-4820-A087-FB691F9536C4}" destId="{B1F46A9C-5493-4B60-9E56-6A0250C4ADB9}" srcOrd="1" destOrd="0" presId="urn:microsoft.com/office/officeart/2005/8/layout/vList3"/>
    <dgm:cxn modelId="{9C0D5F0E-C859-4555-8F7E-8A6D1C326E75}" type="presParOf" srcId="{03ED2A84-7C41-44CC-B2EC-EF00143D911F}" destId="{9963E2DF-D464-41C7-879D-C16859022E12}" srcOrd="1" destOrd="0" presId="urn:microsoft.com/office/officeart/2005/8/layout/vList3"/>
    <dgm:cxn modelId="{D28907FC-A402-43CA-9FFF-E108EE00EE15}" type="presParOf" srcId="{03ED2A84-7C41-44CC-B2EC-EF00143D911F}" destId="{C3E6140C-6DF5-40E8-9969-371EAC261B3E}" srcOrd="2" destOrd="0" presId="urn:microsoft.com/office/officeart/2005/8/layout/vList3"/>
    <dgm:cxn modelId="{DA25D71E-19DC-4059-8C44-F80B12F8D946}" type="presParOf" srcId="{C3E6140C-6DF5-40E8-9969-371EAC261B3E}" destId="{BA28A9C3-C520-45D7-8C58-3FEC8A1B1A59}" srcOrd="0" destOrd="0" presId="urn:microsoft.com/office/officeart/2005/8/layout/vList3"/>
    <dgm:cxn modelId="{95929D67-6E35-4626-8B27-400FC68FB5B6}" type="presParOf" srcId="{C3E6140C-6DF5-40E8-9969-371EAC261B3E}" destId="{51A7D10A-4F66-4C68-BDBD-2E37AD268ADF}" srcOrd="1" destOrd="0" presId="urn:microsoft.com/office/officeart/2005/8/layout/vList3"/>
    <dgm:cxn modelId="{616ECAD7-B152-4444-A937-0140721F1DED}" type="presParOf" srcId="{03ED2A84-7C41-44CC-B2EC-EF00143D911F}" destId="{B672D4E2-9D0E-4B7E-AE08-F2E38E54AAC0}" srcOrd="3" destOrd="0" presId="urn:microsoft.com/office/officeart/2005/8/layout/vList3"/>
    <dgm:cxn modelId="{87D9DE08-E741-46DC-A5AB-ED4ECD6B18F0}" type="presParOf" srcId="{03ED2A84-7C41-44CC-B2EC-EF00143D911F}" destId="{03280FF5-9C73-4945-BBB6-A404C07EB80B}" srcOrd="4" destOrd="0" presId="urn:microsoft.com/office/officeart/2005/8/layout/vList3"/>
    <dgm:cxn modelId="{58486E2D-C673-4C0B-AF79-A2E226D585AE}" type="presParOf" srcId="{03280FF5-9C73-4945-BBB6-A404C07EB80B}" destId="{B4D6685B-A46C-4B33-B544-8BD0D4EF0D74}" srcOrd="0" destOrd="0" presId="urn:microsoft.com/office/officeart/2005/8/layout/vList3"/>
    <dgm:cxn modelId="{8CA7F2F4-6C76-4FE8-A5BE-8163F644B45A}" type="presParOf" srcId="{03280FF5-9C73-4945-BBB6-A404C07EB80B}" destId="{2C10F51F-2AD9-499D-BCAD-503378365B7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A923C59-C31B-4DBE-A674-611B566E9493}" type="doc">
      <dgm:prSet loTypeId="urn:microsoft.com/office/officeart/2005/8/layout/vList3" loCatId="list" qsTypeId="urn:microsoft.com/office/officeart/2005/8/quickstyle/simple1" qsCatId="simple" csTypeId="urn:microsoft.com/office/officeart/2005/8/colors/accent6_2" csCatId="accent6" phldr="1"/>
      <dgm:spPr/>
    </dgm:pt>
    <dgm:pt modelId="{3AD3DA9C-54B1-4D52-8056-428E8489C6B6}">
      <dgm:prSet phldrT="[Text]" custT="1"/>
      <dgm:spPr/>
      <dgm:t>
        <a:bodyPr/>
        <a:lstStyle/>
        <a:p>
          <a:pPr algn="l"/>
          <a:r>
            <a:rPr lang="sr-Latn-RS" sz="1300" b="1" dirty="0"/>
            <a:t>Dobrovoljno – obaveza za javni sektor za vozila</a:t>
          </a:r>
          <a:endParaRPr lang="en-US" sz="1300" b="1" dirty="0"/>
        </a:p>
      </dgm:t>
    </dgm:pt>
    <dgm:pt modelId="{EC78634C-973F-44CA-824C-95CF67F2C225}" type="parTrans" cxnId="{82B212A1-C554-4B78-9CB1-BBE1AED53DA8}">
      <dgm:prSet/>
      <dgm:spPr/>
      <dgm:t>
        <a:bodyPr/>
        <a:lstStyle/>
        <a:p>
          <a:endParaRPr lang="en-US"/>
        </a:p>
      </dgm:t>
    </dgm:pt>
    <dgm:pt modelId="{6729576F-F02F-456F-9352-BD45A707B4AE}" type="sibTrans" cxnId="{82B212A1-C554-4B78-9CB1-BBE1AED53DA8}">
      <dgm:prSet/>
      <dgm:spPr/>
      <dgm:t>
        <a:bodyPr/>
        <a:lstStyle/>
        <a:p>
          <a:endParaRPr lang="en-US"/>
        </a:p>
      </dgm:t>
    </dgm:pt>
    <dgm:pt modelId="{AC8F0020-E9DA-485B-A81C-152F1A58B96E}">
      <dgm:prSet phldrT="[Text]" custT="1"/>
      <dgm:spPr/>
      <dgm:t>
        <a:bodyPr/>
        <a:lstStyle/>
        <a:p>
          <a:pPr algn="l"/>
          <a:r>
            <a:rPr lang="sr-Latn-RS" sz="1300" b="1" dirty="0"/>
            <a:t>Formirani kriterijumi za 8 proizvoda. U Kataloniji obavezno.</a:t>
          </a:r>
          <a:endParaRPr lang="en-US" sz="1300" b="1" dirty="0"/>
        </a:p>
      </dgm:t>
    </dgm:pt>
    <dgm:pt modelId="{C56F923A-8024-47D9-9BA7-BC2AE7B0831C}" type="parTrans" cxnId="{FD2A411A-01DD-48A0-923C-941D7C448BB2}">
      <dgm:prSet/>
      <dgm:spPr/>
      <dgm:t>
        <a:bodyPr/>
        <a:lstStyle/>
        <a:p>
          <a:endParaRPr lang="en-US"/>
        </a:p>
      </dgm:t>
    </dgm:pt>
    <dgm:pt modelId="{7D9C4511-8162-4DA6-9AA9-A4B6A5C191B9}" type="sibTrans" cxnId="{FD2A411A-01DD-48A0-923C-941D7C448BB2}">
      <dgm:prSet/>
      <dgm:spPr/>
      <dgm:t>
        <a:bodyPr/>
        <a:lstStyle/>
        <a:p>
          <a:endParaRPr lang="en-US"/>
        </a:p>
      </dgm:t>
    </dgm:pt>
    <dgm:pt modelId="{D4F5F8AB-08CA-43B6-88ED-730D04943BCE}">
      <dgm:prSet phldrT="[Text]" custT="1"/>
      <dgm:spPr/>
      <dgm:t>
        <a:bodyPr/>
        <a:lstStyle/>
        <a:p>
          <a:pPr algn="l"/>
          <a:r>
            <a:rPr lang="sr-Latn-RS" sz="1300" b="1" dirty="0"/>
            <a:t>P</a:t>
          </a:r>
          <a:r>
            <a:rPr lang="en-US" sz="1300" b="1" dirty="0" err="1"/>
            <a:t>rogresivna</a:t>
          </a:r>
          <a:r>
            <a:rPr lang="en-US" sz="1300" b="1" dirty="0"/>
            <a:t> </a:t>
          </a:r>
          <a:r>
            <a:rPr lang="en-US" sz="1300" b="1" dirty="0" err="1"/>
            <a:t>obaveznost</a:t>
          </a:r>
          <a:r>
            <a:rPr lang="en-US" sz="1300" b="1" dirty="0"/>
            <a:t> </a:t>
          </a:r>
          <a:r>
            <a:rPr lang="en-US" sz="1300" b="1" dirty="0" err="1"/>
            <a:t>centralnih</a:t>
          </a:r>
          <a:r>
            <a:rPr lang="en-US" sz="1300" b="1" dirty="0"/>
            <a:t> </a:t>
          </a:r>
          <a:r>
            <a:rPr lang="en-US" sz="1300" b="1" dirty="0" err="1"/>
            <a:t>vlasti</a:t>
          </a:r>
          <a:r>
            <a:rPr lang="en-US" sz="1300" b="1" dirty="0"/>
            <a:t> </a:t>
          </a:r>
        </a:p>
      </dgm:t>
    </dgm:pt>
    <dgm:pt modelId="{8747BF00-44EA-4F97-8E14-0AF3C07E6F74}" type="parTrans" cxnId="{A93F40B2-DB91-4697-B80F-F3D5D248B0FE}">
      <dgm:prSet/>
      <dgm:spPr/>
      <dgm:t>
        <a:bodyPr/>
        <a:lstStyle/>
        <a:p>
          <a:endParaRPr lang="en-US"/>
        </a:p>
      </dgm:t>
    </dgm:pt>
    <dgm:pt modelId="{FA24B53C-CEFF-44CE-80F1-7417C5408F86}" type="sibTrans" cxnId="{A93F40B2-DB91-4697-B80F-F3D5D248B0FE}">
      <dgm:prSet/>
      <dgm:spPr/>
      <dgm:t>
        <a:bodyPr/>
        <a:lstStyle/>
        <a:p>
          <a:endParaRPr lang="en-US"/>
        </a:p>
      </dgm:t>
    </dgm:pt>
    <dgm:pt modelId="{16A5ED3A-3852-475C-A171-C68AAFD90AAF}" type="pres">
      <dgm:prSet presAssocID="{EA923C59-C31B-4DBE-A674-611B566E9493}" presName="linearFlow" presStyleCnt="0">
        <dgm:presLayoutVars>
          <dgm:dir/>
          <dgm:resizeHandles val="exact"/>
        </dgm:presLayoutVars>
      </dgm:prSet>
      <dgm:spPr/>
    </dgm:pt>
    <dgm:pt modelId="{BDE64D29-0208-4B23-93B9-278BB1FBAB3F}" type="pres">
      <dgm:prSet presAssocID="{3AD3DA9C-54B1-4D52-8056-428E8489C6B6}" presName="composite" presStyleCnt="0"/>
      <dgm:spPr/>
    </dgm:pt>
    <dgm:pt modelId="{15A22883-FEA4-4B97-BAF3-72433FCD7463}" type="pres">
      <dgm:prSet presAssocID="{3AD3DA9C-54B1-4D52-8056-428E8489C6B6}" presName="imgShp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836F0B2A-3982-4A86-A4FC-469D13CF7D19}" type="pres">
      <dgm:prSet presAssocID="{3AD3DA9C-54B1-4D52-8056-428E8489C6B6}" presName="txShp" presStyleLbl="node1" presStyleIdx="0" presStyleCnt="3">
        <dgm:presLayoutVars>
          <dgm:bulletEnabled val="1"/>
        </dgm:presLayoutVars>
      </dgm:prSet>
      <dgm:spPr/>
    </dgm:pt>
    <dgm:pt modelId="{5AADD590-1299-4D3D-BF3E-BE4A512AE492}" type="pres">
      <dgm:prSet presAssocID="{6729576F-F02F-456F-9352-BD45A707B4AE}" presName="spacing" presStyleCnt="0"/>
      <dgm:spPr/>
    </dgm:pt>
    <dgm:pt modelId="{340675F2-0256-4C01-8E40-16B109182132}" type="pres">
      <dgm:prSet presAssocID="{AC8F0020-E9DA-485B-A81C-152F1A58B96E}" presName="composite" presStyleCnt="0"/>
      <dgm:spPr/>
    </dgm:pt>
    <dgm:pt modelId="{F795FBF9-BF12-415D-9388-E0E2D2F1DCB6}" type="pres">
      <dgm:prSet presAssocID="{AC8F0020-E9DA-485B-A81C-152F1A58B96E}" presName="imgShp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97435B3B-61E3-4506-A370-8BCA24FAF293}" type="pres">
      <dgm:prSet presAssocID="{AC8F0020-E9DA-485B-A81C-152F1A58B96E}" presName="txShp" presStyleLbl="node1" presStyleIdx="1" presStyleCnt="3">
        <dgm:presLayoutVars>
          <dgm:bulletEnabled val="1"/>
        </dgm:presLayoutVars>
      </dgm:prSet>
      <dgm:spPr/>
    </dgm:pt>
    <dgm:pt modelId="{D3917D63-D394-4995-99B0-C800D2030A34}" type="pres">
      <dgm:prSet presAssocID="{7D9C4511-8162-4DA6-9AA9-A4B6A5C191B9}" presName="spacing" presStyleCnt="0"/>
      <dgm:spPr/>
    </dgm:pt>
    <dgm:pt modelId="{B1022E1E-DC46-4C29-B7E7-0E08F65AEBDF}" type="pres">
      <dgm:prSet presAssocID="{D4F5F8AB-08CA-43B6-88ED-730D04943BCE}" presName="composite" presStyleCnt="0"/>
      <dgm:spPr/>
    </dgm:pt>
    <dgm:pt modelId="{54061213-293D-4B03-974F-C4E9EBD33C91}" type="pres">
      <dgm:prSet presAssocID="{D4F5F8AB-08CA-43B6-88ED-730D04943BCE}" presName="imgShp" presStyleLbl="fgImgPlac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C8966A27-3769-4840-AAFB-0E126EEE09DF}" type="pres">
      <dgm:prSet presAssocID="{D4F5F8AB-08CA-43B6-88ED-730D04943BCE}" presName="txShp" presStyleLbl="node1" presStyleIdx="2" presStyleCnt="3">
        <dgm:presLayoutVars>
          <dgm:bulletEnabled val="1"/>
        </dgm:presLayoutVars>
      </dgm:prSet>
      <dgm:spPr/>
    </dgm:pt>
  </dgm:ptLst>
  <dgm:cxnLst>
    <dgm:cxn modelId="{92056009-E556-4EC2-9E2C-AFDA2F2CB0CB}" type="presOf" srcId="{D4F5F8AB-08CA-43B6-88ED-730D04943BCE}" destId="{C8966A27-3769-4840-AAFB-0E126EEE09DF}" srcOrd="0" destOrd="0" presId="urn:microsoft.com/office/officeart/2005/8/layout/vList3"/>
    <dgm:cxn modelId="{FD2A411A-01DD-48A0-923C-941D7C448BB2}" srcId="{EA923C59-C31B-4DBE-A674-611B566E9493}" destId="{AC8F0020-E9DA-485B-A81C-152F1A58B96E}" srcOrd="1" destOrd="0" parTransId="{C56F923A-8024-47D9-9BA7-BC2AE7B0831C}" sibTransId="{7D9C4511-8162-4DA6-9AA9-A4B6A5C191B9}"/>
    <dgm:cxn modelId="{0B7BF76B-FC0D-4EEB-B265-EFBC22C2B937}" type="presOf" srcId="{EA923C59-C31B-4DBE-A674-611B566E9493}" destId="{16A5ED3A-3852-475C-A171-C68AAFD90AAF}" srcOrd="0" destOrd="0" presId="urn:microsoft.com/office/officeart/2005/8/layout/vList3"/>
    <dgm:cxn modelId="{82B212A1-C554-4B78-9CB1-BBE1AED53DA8}" srcId="{EA923C59-C31B-4DBE-A674-611B566E9493}" destId="{3AD3DA9C-54B1-4D52-8056-428E8489C6B6}" srcOrd="0" destOrd="0" parTransId="{EC78634C-973F-44CA-824C-95CF67F2C225}" sibTransId="{6729576F-F02F-456F-9352-BD45A707B4AE}"/>
    <dgm:cxn modelId="{A93F40B2-DB91-4697-B80F-F3D5D248B0FE}" srcId="{EA923C59-C31B-4DBE-A674-611B566E9493}" destId="{D4F5F8AB-08CA-43B6-88ED-730D04943BCE}" srcOrd="2" destOrd="0" parTransId="{8747BF00-44EA-4F97-8E14-0AF3C07E6F74}" sibTransId="{FA24B53C-CEFF-44CE-80F1-7417C5408F86}"/>
    <dgm:cxn modelId="{0BECB6C6-3D3D-43C7-87EE-6A231BE5BA8F}" type="presOf" srcId="{AC8F0020-E9DA-485B-A81C-152F1A58B96E}" destId="{97435B3B-61E3-4506-A370-8BCA24FAF293}" srcOrd="0" destOrd="0" presId="urn:microsoft.com/office/officeart/2005/8/layout/vList3"/>
    <dgm:cxn modelId="{7D392EDA-59E9-4715-88E9-DBF4893C5D05}" type="presOf" srcId="{3AD3DA9C-54B1-4D52-8056-428E8489C6B6}" destId="{836F0B2A-3982-4A86-A4FC-469D13CF7D19}" srcOrd="0" destOrd="0" presId="urn:microsoft.com/office/officeart/2005/8/layout/vList3"/>
    <dgm:cxn modelId="{F2F56D9B-34C5-4258-BA22-63AC37EA073A}" type="presParOf" srcId="{16A5ED3A-3852-475C-A171-C68AAFD90AAF}" destId="{BDE64D29-0208-4B23-93B9-278BB1FBAB3F}" srcOrd="0" destOrd="0" presId="urn:microsoft.com/office/officeart/2005/8/layout/vList3"/>
    <dgm:cxn modelId="{0870805E-A71C-4FEE-B36A-A946F00564AE}" type="presParOf" srcId="{BDE64D29-0208-4B23-93B9-278BB1FBAB3F}" destId="{15A22883-FEA4-4B97-BAF3-72433FCD7463}" srcOrd="0" destOrd="0" presId="urn:microsoft.com/office/officeart/2005/8/layout/vList3"/>
    <dgm:cxn modelId="{61BA09D7-F6D9-4B51-85C4-9775F008A522}" type="presParOf" srcId="{BDE64D29-0208-4B23-93B9-278BB1FBAB3F}" destId="{836F0B2A-3982-4A86-A4FC-469D13CF7D19}" srcOrd="1" destOrd="0" presId="urn:microsoft.com/office/officeart/2005/8/layout/vList3"/>
    <dgm:cxn modelId="{08969C85-9B53-48EF-9DCE-959913C4DD18}" type="presParOf" srcId="{16A5ED3A-3852-475C-A171-C68AAFD90AAF}" destId="{5AADD590-1299-4D3D-BF3E-BE4A512AE492}" srcOrd="1" destOrd="0" presId="urn:microsoft.com/office/officeart/2005/8/layout/vList3"/>
    <dgm:cxn modelId="{6C405D1C-EBED-49DD-9B79-9CDFEB8A963B}" type="presParOf" srcId="{16A5ED3A-3852-475C-A171-C68AAFD90AAF}" destId="{340675F2-0256-4C01-8E40-16B109182132}" srcOrd="2" destOrd="0" presId="urn:microsoft.com/office/officeart/2005/8/layout/vList3"/>
    <dgm:cxn modelId="{08B9513B-318D-4BB9-B9F5-AB2607088AFF}" type="presParOf" srcId="{340675F2-0256-4C01-8E40-16B109182132}" destId="{F795FBF9-BF12-415D-9388-E0E2D2F1DCB6}" srcOrd="0" destOrd="0" presId="urn:microsoft.com/office/officeart/2005/8/layout/vList3"/>
    <dgm:cxn modelId="{732D26BD-6062-41CB-A401-9DCA45D6B69E}" type="presParOf" srcId="{340675F2-0256-4C01-8E40-16B109182132}" destId="{97435B3B-61E3-4506-A370-8BCA24FAF293}" srcOrd="1" destOrd="0" presId="urn:microsoft.com/office/officeart/2005/8/layout/vList3"/>
    <dgm:cxn modelId="{AE92F1E9-F666-43B3-A6C7-4AA5D002E100}" type="presParOf" srcId="{16A5ED3A-3852-475C-A171-C68AAFD90AAF}" destId="{D3917D63-D394-4995-99B0-C800D2030A34}" srcOrd="3" destOrd="0" presId="urn:microsoft.com/office/officeart/2005/8/layout/vList3"/>
    <dgm:cxn modelId="{5AD562CF-DA64-4F6F-9072-EE1C249881B6}" type="presParOf" srcId="{16A5ED3A-3852-475C-A171-C68AAFD90AAF}" destId="{B1022E1E-DC46-4C29-B7E7-0E08F65AEBDF}" srcOrd="4" destOrd="0" presId="urn:microsoft.com/office/officeart/2005/8/layout/vList3"/>
    <dgm:cxn modelId="{9B0273AE-1BF3-4162-9742-0FB0BA43787A}" type="presParOf" srcId="{B1022E1E-DC46-4C29-B7E7-0E08F65AEBDF}" destId="{54061213-293D-4B03-974F-C4E9EBD33C91}" srcOrd="0" destOrd="0" presId="urn:microsoft.com/office/officeart/2005/8/layout/vList3"/>
    <dgm:cxn modelId="{AECF1DB8-F6E7-43C7-B37E-D3461B539B02}" type="presParOf" srcId="{B1022E1E-DC46-4C29-B7E7-0E08F65AEBDF}" destId="{C8966A27-3769-4840-AAFB-0E126EEE09D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6F1501-1675-4426-85C5-56C78FC49252}">
      <dsp:nvSpPr>
        <dsp:cNvPr id="0" name=""/>
        <dsp:cNvSpPr/>
      </dsp:nvSpPr>
      <dsp:spPr>
        <a:xfrm>
          <a:off x="2908000" y="494574"/>
          <a:ext cx="1548109" cy="3610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231"/>
              </a:lnTo>
              <a:lnTo>
                <a:pt x="1548109" y="275231"/>
              </a:lnTo>
              <a:lnTo>
                <a:pt x="1548109" y="361091"/>
              </a:lnTo>
            </a:path>
          </a:pathLst>
        </a:custGeom>
        <a:noFill/>
        <a:ln w="25400" cap="flat" cmpd="sng" algn="ctr">
          <a:solidFill>
            <a:schemeClr val="accent6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676666-5A89-407B-83A1-59CA0106BDAB}">
      <dsp:nvSpPr>
        <dsp:cNvPr id="0" name=""/>
        <dsp:cNvSpPr/>
      </dsp:nvSpPr>
      <dsp:spPr>
        <a:xfrm>
          <a:off x="1946433" y="494574"/>
          <a:ext cx="961567" cy="521970"/>
        </a:xfrm>
        <a:custGeom>
          <a:avLst/>
          <a:gdLst/>
          <a:ahLst/>
          <a:cxnLst/>
          <a:rect l="0" t="0" r="0" b="0"/>
          <a:pathLst>
            <a:path>
              <a:moveTo>
                <a:pt x="961567" y="0"/>
              </a:moveTo>
              <a:lnTo>
                <a:pt x="961567" y="436110"/>
              </a:lnTo>
              <a:lnTo>
                <a:pt x="0" y="436110"/>
              </a:lnTo>
              <a:lnTo>
                <a:pt x="0" y="521970"/>
              </a:lnTo>
            </a:path>
          </a:pathLst>
        </a:custGeom>
        <a:noFill/>
        <a:ln w="25400" cap="flat" cmpd="sng" algn="ctr">
          <a:solidFill>
            <a:schemeClr val="accent6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8DDCAF-3D87-4147-BB3C-C17514B6061E}">
      <dsp:nvSpPr>
        <dsp:cNvPr id="0" name=""/>
        <dsp:cNvSpPr/>
      </dsp:nvSpPr>
      <dsp:spPr>
        <a:xfrm>
          <a:off x="408857" y="494574"/>
          <a:ext cx="2499142" cy="521970"/>
        </a:xfrm>
        <a:custGeom>
          <a:avLst/>
          <a:gdLst/>
          <a:ahLst/>
          <a:cxnLst/>
          <a:rect l="0" t="0" r="0" b="0"/>
          <a:pathLst>
            <a:path>
              <a:moveTo>
                <a:pt x="2499142" y="0"/>
              </a:moveTo>
              <a:lnTo>
                <a:pt x="2499142" y="436110"/>
              </a:lnTo>
              <a:lnTo>
                <a:pt x="0" y="436110"/>
              </a:lnTo>
              <a:lnTo>
                <a:pt x="0" y="521970"/>
              </a:lnTo>
            </a:path>
          </a:pathLst>
        </a:custGeom>
        <a:noFill/>
        <a:ln w="25400" cap="flat" cmpd="sng" algn="ctr">
          <a:solidFill>
            <a:schemeClr val="accent6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34CF56-8E20-42A3-8151-798970294A9D}">
      <dsp:nvSpPr>
        <dsp:cNvPr id="0" name=""/>
        <dsp:cNvSpPr/>
      </dsp:nvSpPr>
      <dsp:spPr>
        <a:xfrm>
          <a:off x="1587742" y="0"/>
          <a:ext cx="2640515" cy="494574"/>
        </a:xfrm>
        <a:prstGeom prst="rect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Kriterijumi</a:t>
          </a:r>
          <a:r>
            <a:rPr lang="en-US" sz="1400" b="1" kern="1200" dirty="0"/>
            <a:t> za </a:t>
          </a:r>
          <a:r>
            <a:rPr lang="en-US" sz="1400" b="1" kern="1200" dirty="0" err="1"/>
            <a:t>ocenu</a:t>
          </a:r>
          <a:r>
            <a:rPr lang="en-US" sz="1400" b="1" kern="1200" dirty="0"/>
            <a:t> </a:t>
          </a:r>
          <a:r>
            <a:rPr lang="en-US" sz="1400" b="1" kern="1200" dirty="0" err="1"/>
            <a:t>ponuda</a:t>
          </a:r>
          <a:r>
            <a:rPr lang="sr-Latn-RS" sz="1400" b="1" kern="1200" dirty="0"/>
            <a:t> (alternativno):</a:t>
          </a:r>
          <a:endParaRPr lang="en-US" sz="1400" b="1" kern="1200" dirty="0"/>
        </a:p>
      </dsp:txBody>
      <dsp:txXfrm>
        <a:off x="1587742" y="0"/>
        <a:ext cx="2640515" cy="494574"/>
      </dsp:txXfrm>
    </dsp:sp>
    <dsp:sp modelId="{DEF9CB6B-69C3-4928-BA2A-43C23DE9A3BE}">
      <dsp:nvSpPr>
        <dsp:cNvPr id="0" name=""/>
        <dsp:cNvSpPr/>
      </dsp:nvSpPr>
      <dsp:spPr>
        <a:xfrm>
          <a:off x="0" y="1016544"/>
          <a:ext cx="817714" cy="408857"/>
        </a:xfrm>
        <a:prstGeom prst="rect">
          <a:avLst/>
        </a:prstGeom>
        <a:solidFill>
          <a:schemeClr val="accent6">
            <a:tint val="99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400" b="1" kern="1200" dirty="0"/>
            <a:t>cena</a:t>
          </a:r>
          <a:endParaRPr lang="en-US" sz="1400" b="1" kern="1200" dirty="0"/>
        </a:p>
      </dsp:txBody>
      <dsp:txXfrm>
        <a:off x="0" y="1016544"/>
        <a:ext cx="817714" cy="408857"/>
      </dsp:txXfrm>
    </dsp:sp>
    <dsp:sp modelId="{BEC2EFC9-68E4-4249-84E4-43C30C2E2C38}">
      <dsp:nvSpPr>
        <dsp:cNvPr id="0" name=""/>
        <dsp:cNvSpPr/>
      </dsp:nvSpPr>
      <dsp:spPr>
        <a:xfrm>
          <a:off x="964173" y="1016544"/>
          <a:ext cx="1964518" cy="1594339"/>
        </a:xfrm>
        <a:prstGeom prst="rect">
          <a:avLst/>
        </a:prstGeom>
        <a:solidFill>
          <a:schemeClr val="accent6">
            <a:tint val="99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/>
            <a:t>Troškovi</a:t>
          </a:r>
          <a:r>
            <a:rPr lang="sr-Latn-RS" sz="1400" b="1" kern="1200" dirty="0"/>
            <a:t> </a:t>
          </a:r>
          <a:r>
            <a:rPr lang="en-US" sz="1400" b="1" kern="1200" dirty="0" err="1"/>
            <a:t>primenom</a:t>
          </a:r>
          <a:r>
            <a:rPr lang="en-US" sz="1400" b="1" kern="1200" dirty="0"/>
            <a:t> </a:t>
          </a:r>
          <a:r>
            <a:rPr lang="en-US" sz="1400" b="1" kern="1200" dirty="0" err="1"/>
            <a:t>pristupa</a:t>
          </a:r>
          <a:r>
            <a:rPr lang="en-US" sz="1400" b="1" kern="1200" dirty="0"/>
            <a:t> </a:t>
          </a:r>
          <a:r>
            <a:rPr lang="en-US" sz="1400" b="1" kern="1200" dirty="0" err="1"/>
            <a:t>troškovne</a:t>
          </a:r>
          <a:r>
            <a:rPr lang="en-US" sz="1400" b="1" kern="1200" dirty="0"/>
            <a:t> </a:t>
          </a:r>
          <a:r>
            <a:rPr lang="en-US" sz="1400" b="1" kern="1200" dirty="0" err="1"/>
            <a:t>efikasnosti</a:t>
          </a:r>
          <a:r>
            <a:rPr lang="en-US" sz="1400" b="1" kern="1200" dirty="0"/>
            <a:t>, </a:t>
          </a:r>
          <a:r>
            <a:rPr lang="en-US" sz="1400" b="1" kern="1200" dirty="0" err="1"/>
            <a:t>kao</a:t>
          </a:r>
          <a:r>
            <a:rPr lang="en-US" sz="1400" b="1" kern="1200" dirty="0"/>
            <a:t> </a:t>
          </a:r>
          <a:r>
            <a:rPr lang="en-US" sz="1400" b="1" kern="1200" dirty="0" err="1"/>
            <a:t>što</a:t>
          </a:r>
          <a:r>
            <a:rPr lang="en-US" sz="1400" b="1" kern="1200" dirty="0"/>
            <a:t> je </a:t>
          </a:r>
          <a:r>
            <a:rPr lang="en-US" sz="1400" b="1" kern="1200" dirty="0" err="1"/>
            <a:t>trošak</a:t>
          </a:r>
          <a:r>
            <a:rPr lang="en-US" sz="1400" b="1" kern="1200" dirty="0"/>
            <a:t> </a:t>
          </a:r>
          <a:r>
            <a:rPr lang="en-US" sz="1400" b="1" kern="1200" dirty="0" err="1"/>
            <a:t>životnog</a:t>
          </a:r>
          <a:r>
            <a:rPr lang="en-US" sz="1400" b="1" kern="1200" dirty="0"/>
            <a:t> </a:t>
          </a:r>
          <a:r>
            <a:rPr lang="en-US" sz="1400" b="1" kern="1200" dirty="0" err="1"/>
            <a:t>ciklusa</a:t>
          </a:r>
          <a:r>
            <a:rPr lang="en-US" sz="1400" b="1" kern="1200" dirty="0"/>
            <a:t> u </a:t>
          </a:r>
          <a:r>
            <a:rPr lang="en-US" sz="1400" b="1" kern="1200" dirty="0" err="1"/>
            <a:t>skladu</a:t>
          </a:r>
          <a:r>
            <a:rPr lang="en-US" sz="1400" b="1" kern="1200" dirty="0"/>
            <a:t> </a:t>
          </a:r>
          <a:r>
            <a:rPr lang="en-US" sz="1400" b="1" kern="1200" dirty="0" err="1"/>
            <a:t>sa</a:t>
          </a:r>
          <a:r>
            <a:rPr lang="en-US" sz="1400" b="1" kern="1200" dirty="0"/>
            <a:t> </a:t>
          </a:r>
          <a:r>
            <a:rPr lang="en-US" sz="1400" b="1" kern="1200" dirty="0" err="1"/>
            <a:t>članom</a:t>
          </a:r>
          <a:r>
            <a:rPr lang="en-US" sz="1400" b="1" kern="1200" dirty="0"/>
            <a:t> 134.</a:t>
          </a:r>
        </a:p>
      </dsp:txBody>
      <dsp:txXfrm>
        <a:off x="964173" y="1016544"/>
        <a:ext cx="1964518" cy="1594339"/>
      </dsp:txXfrm>
    </dsp:sp>
    <dsp:sp modelId="{3364D0B8-B426-4C88-88CC-2C0C50360F4D}">
      <dsp:nvSpPr>
        <dsp:cNvPr id="0" name=""/>
        <dsp:cNvSpPr/>
      </dsp:nvSpPr>
      <dsp:spPr>
        <a:xfrm>
          <a:off x="3118942" y="855666"/>
          <a:ext cx="2674336" cy="2041870"/>
        </a:xfrm>
        <a:prstGeom prst="rect">
          <a:avLst/>
        </a:prstGeom>
        <a:solidFill>
          <a:schemeClr val="accent6">
            <a:tint val="99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US" sz="1400" b="1" u="none" kern="1200" dirty="0" err="1"/>
            <a:t>odnosa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cene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i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kvaliteta</a:t>
          </a:r>
          <a:r>
            <a:rPr lang="en-US" sz="1400" b="1" u="none" kern="1200" dirty="0"/>
            <a:t>, </a:t>
          </a:r>
          <a:r>
            <a:rPr lang="en-US" sz="1400" b="1" u="none" kern="1200" dirty="0" err="1"/>
            <a:t>odnosno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troška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i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kvaliteta</a:t>
          </a:r>
          <a:r>
            <a:rPr lang="en-US" sz="1400" b="1" u="none" kern="1200" dirty="0"/>
            <a:t> koji se </a:t>
          </a:r>
          <a:r>
            <a:rPr lang="en-US" sz="1400" b="1" u="none" kern="1200" dirty="0" err="1"/>
            <a:t>ocenjuje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na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osnovu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kriterijuma</a:t>
          </a:r>
          <a:r>
            <a:rPr lang="en-US" sz="1400" b="1" u="none" kern="1200" dirty="0"/>
            <a:t>, </a:t>
          </a:r>
          <a:r>
            <a:rPr lang="en-US" sz="1400" b="1" u="none" kern="1200" dirty="0" err="1"/>
            <a:t>uključujući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kvalitativne</a:t>
          </a:r>
          <a:r>
            <a:rPr lang="en-US" sz="1400" b="1" u="none" kern="1200" dirty="0"/>
            <a:t>, </a:t>
          </a:r>
          <a:r>
            <a:rPr lang="en-US" sz="1400" b="1" u="none" kern="1200" dirty="0" err="1"/>
            <a:t>ekološke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i</a:t>
          </a:r>
          <a:r>
            <a:rPr lang="en-US" sz="1400" b="1" u="none" kern="1200" dirty="0"/>
            <a:t>/</a:t>
          </a:r>
          <a:r>
            <a:rPr lang="en-US" sz="1400" b="1" u="none" kern="1200" dirty="0" err="1"/>
            <a:t>ili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socijalne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aspekte</a:t>
          </a:r>
          <a:r>
            <a:rPr lang="en-US" sz="1400" b="1" u="none" kern="1200" dirty="0"/>
            <a:t>, </a:t>
          </a:r>
          <a:r>
            <a:rPr lang="en-US" sz="1400" b="1" u="none" kern="1200" dirty="0" err="1"/>
            <a:t>povezane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sa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predmetom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ugovora</a:t>
          </a:r>
          <a:r>
            <a:rPr lang="en-US" sz="1400" b="1" u="none" kern="1200" dirty="0"/>
            <a:t> o </a:t>
          </a:r>
          <a:r>
            <a:rPr lang="en-US" sz="1400" b="1" u="none" kern="1200" dirty="0" err="1"/>
            <a:t>javnoj</a:t>
          </a:r>
          <a:r>
            <a:rPr lang="en-US" sz="1400" b="1" u="none" kern="1200" dirty="0"/>
            <a:t> </a:t>
          </a:r>
          <a:r>
            <a:rPr lang="en-US" sz="1400" b="1" u="none" kern="1200" dirty="0" err="1"/>
            <a:t>nabavci</a:t>
          </a:r>
          <a:endParaRPr lang="en-US" sz="1400" b="1" kern="1200" dirty="0"/>
        </a:p>
      </dsp:txBody>
      <dsp:txXfrm>
        <a:off x="3118942" y="855666"/>
        <a:ext cx="2674336" cy="20418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F46A9C-5493-4B60-9E56-6A0250C4ADB9}">
      <dsp:nvSpPr>
        <dsp:cNvPr id="0" name=""/>
        <dsp:cNvSpPr/>
      </dsp:nvSpPr>
      <dsp:spPr>
        <a:xfrm rot="10800000">
          <a:off x="947811" y="2"/>
          <a:ext cx="2940300" cy="828837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5494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300" b="1" kern="1200" dirty="0"/>
            <a:t>45 proizvoda (u 52 dokumenta) – cilj je 100% održivih nabavki;</a:t>
          </a:r>
          <a:endParaRPr lang="en-US" sz="1300" b="1" kern="1200" dirty="0"/>
        </a:p>
      </dsp:txBody>
      <dsp:txXfrm rot="10800000">
        <a:off x="1155020" y="2"/>
        <a:ext cx="2733091" cy="828837"/>
      </dsp:txXfrm>
    </dsp:sp>
    <dsp:sp modelId="{E16372A6-5C5E-43C2-8EEE-251D40DE1536}">
      <dsp:nvSpPr>
        <dsp:cNvPr id="0" name=""/>
        <dsp:cNvSpPr/>
      </dsp:nvSpPr>
      <dsp:spPr>
        <a:xfrm>
          <a:off x="533392" y="2"/>
          <a:ext cx="828837" cy="82883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A7D10A-4F66-4C68-BDBD-2E37AD268ADF}">
      <dsp:nvSpPr>
        <dsp:cNvPr id="0" name=""/>
        <dsp:cNvSpPr/>
      </dsp:nvSpPr>
      <dsp:spPr>
        <a:xfrm rot="10800000">
          <a:off x="947811" y="1076255"/>
          <a:ext cx="2940300" cy="828837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5494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000" b="1" kern="1200" dirty="0"/>
            <a:t>Papir za štampu</a:t>
          </a:r>
          <a:r>
            <a:rPr lang="en-US" sz="1000" b="1" kern="1200" dirty="0"/>
            <a:t>, </a:t>
          </a:r>
          <a:r>
            <a:rPr lang="en-US" sz="1000" b="1" kern="1200" dirty="0" err="1"/>
            <a:t>računari</a:t>
          </a:r>
          <a:r>
            <a:rPr lang="en-US" sz="1000" b="1" kern="1200" dirty="0"/>
            <a:t> </a:t>
          </a:r>
          <a:r>
            <a:rPr lang="en-US" sz="1000" b="1" kern="1200" dirty="0" err="1"/>
            <a:t>i</a:t>
          </a:r>
          <a:r>
            <a:rPr lang="en-US" sz="1000" b="1" kern="1200" dirty="0"/>
            <a:t> </a:t>
          </a:r>
          <a:r>
            <a:rPr lang="en-US" sz="1000" b="1" kern="1200" dirty="0" err="1"/>
            <a:t>monitori</a:t>
          </a:r>
          <a:r>
            <a:rPr lang="en-US" sz="1000" b="1" kern="1200" dirty="0"/>
            <a:t>, LED </a:t>
          </a:r>
          <a:r>
            <a:rPr lang="en-US" sz="1000" b="1" kern="1200" dirty="0" err="1"/>
            <a:t>lampe</a:t>
          </a:r>
          <a:r>
            <a:rPr lang="en-US" sz="1000" b="1" kern="1200" dirty="0"/>
            <a:t>, </a:t>
          </a:r>
          <a:r>
            <a:rPr lang="en-US" sz="1000" b="1" kern="1200" dirty="0" err="1"/>
            <a:t>klima</a:t>
          </a:r>
          <a:r>
            <a:rPr lang="en-US" sz="1000" b="1" kern="1200" dirty="0"/>
            <a:t> </a:t>
          </a:r>
          <a:r>
            <a:rPr lang="en-US" sz="1000" b="1" kern="1200" dirty="0" err="1"/>
            <a:t>uređaji</a:t>
          </a:r>
          <a:r>
            <a:rPr lang="en-US" sz="1000" b="1" kern="1200" dirty="0"/>
            <a:t>, </a:t>
          </a:r>
          <a:r>
            <a:rPr lang="sr-Latn-RS" sz="1000" b="1" kern="1200" dirty="0"/>
            <a:t>maziva, </a:t>
          </a:r>
          <a:r>
            <a:rPr lang="en-US" sz="1000" b="1" kern="1200" dirty="0" err="1"/>
            <a:t>drumski</a:t>
          </a:r>
          <a:r>
            <a:rPr lang="en-US" sz="1000" b="1" kern="1200" dirty="0"/>
            <a:t> transport, </a:t>
          </a:r>
          <a:r>
            <a:rPr lang="sr-Latn-RS" sz="1000" b="1" kern="1200" dirty="0"/>
            <a:t>rasveta </a:t>
          </a:r>
          <a:r>
            <a:rPr lang="en-US" sz="1000" b="1" kern="1200" dirty="0" err="1"/>
            <a:t>i</a:t>
          </a:r>
          <a:r>
            <a:rPr lang="en-US" sz="1000" b="1" kern="1200" dirty="0"/>
            <a:t> </a:t>
          </a:r>
          <a:r>
            <a:rPr lang="en-US" sz="1000" b="1" kern="1200" dirty="0" err="1"/>
            <a:t>saobraćajna</a:t>
          </a:r>
          <a:r>
            <a:rPr lang="en-US" sz="1000" b="1" kern="1200" dirty="0"/>
            <a:t> </a:t>
          </a:r>
          <a:r>
            <a:rPr lang="en-US" sz="1000" b="1" kern="1200" dirty="0" err="1"/>
            <a:t>signalizacija</a:t>
          </a:r>
          <a:r>
            <a:rPr lang="sr-Latn-RS" sz="1000" b="1" kern="1200" dirty="0"/>
            <a:t>.</a:t>
          </a:r>
          <a:endParaRPr lang="en-US" sz="1000" b="1" kern="1200" dirty="0"/>
        </a:p>
      </dsp:txBody>
      <dsp:txXfrm rot="10800000">
        <a:off x="1155020" y="1076255"/>
        <a:ext cx="2733091" cy="828837"/>
      </dsp:txXfrm>
    </dsp:sp>
    <dsp:sp modelId="{BA28A9C3-C520-45D7-8C58-3FEC8A1B1A59}">
      <dsp:nvSpPr>
        <dsp:cNvPr id="0" name=""/>
        <dsp:cNvSpPr/>
      </dsp:nvSpPr>
      <dsp:spPr>
        <a:xfrm>
          <a:off x="592455" y="1076255"/>
          <a:ext cx="828837" cy="828837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0F51F-2AD9-499D-BCAD-503378365B79}">
      <dsp:nvSpPr>
        <dsp:cNvPr id="0" name=""/>
        <dsp:cNvSpPr/>
      </dsp:nvSpPr>
      <dsp:spPr>
        <a:xfrm rot="10800000">
          <a:off x="947811" y="2152507"/>
          <a:ext cx="2940300" cy="828837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5494" tIns="38100" rIns="7112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 err="1"/>
            <a:t>Grenelle</a:t>
          </a:r>
          <a:r>
            <a:rPr lang="en-US" sz="1000" b="1" kern="1200" dirty="0"/>
            <a:t> 1 </a:t>
          </a:r>
          <a:r>
            <a:rPr lang="en-US" sz="1000" b="1" kern="1200" dirty="0" err="1"/>
            <a:t>član</a:t>
          </a:r>
          <a:r>
            <a:rPr lang="en-US" sz="1000" b="1" kern="1200" dirty="0"/>
            <a:t> 48</a:t>
          </a:r>
          <a:r>
            <a:rPr lang="sr-Latn-RS" sz="1000" b="1" kern="1200" dirty="0"/>
            <a:t>.</a:t>
          </a:r>
          <a:r>
            <a:rPr lang="en-US" sz="1000" b="1" kern="1200" dirty="0"/>
            <a:t> </a:t>
          </a:r>
          <a:r>
            <a:rPr lang="en-US" sz="1000" b="1" kern="1200" dirty="0" err="1"/>
            <a:t>postavlja</a:t>
          </a:r>
          <a:r>
            <a:rPr lang="en-US" sz="1000" b="1" kern="1200" dirty="0"/>
            <a:t> </a:t>
          </a:r>
          <a:r>
            <a:rPr lang="en-US" sz="1000" b="1" kern="1200" dirty="0" err="1"/>
            <a:t>obavezne</a:t>
          </a:r>
          <a:r>
            <a:rPr lang="en-US" sz="1000" b="1" kern="1200" dirty="0"/>
            <a:t>: </a:t>
          </a:r>
          <a:r>
            <a:rPr lang="en-US" sz="1000" b="1" kern="1200" dirty="0" err="1"/>
            <a:t>vozila</a:t>
          </a:r>
          <a:r>
            <a:rPr lang="en-US" sz="1000" b="1" kern="1200" dirty="0"/>
            <a:t>, </a:t>
          </a:r>
          <a:r>
            <a:rPr lang="en-US" sz="1000" b="1" kern="1200" dirty="0" err="1"/>
            <a:t>komunikaciona</a:t>
          </a:r>
          <a:r>
            <a:rPr lang="en-US" sz="1000" b="1" kern="1200" dirty="0"/>
            <a:t> </a:t>
          </a:r>
          <a:r>
            <a:rPr lang="en-US" sz="1000" b="1" kern="1200" dirty="0" err="1"/>
            <a:t>tehnologija</a:t>
          </a:r>
          <a:r>
            <a:rPr lang="en-US" sz="1000" b="1" kern="1200" dirty="0"/>
            <a:t>,</a:t>
          </a:r>
          <a:r>
            <a:rPr lang="sr-Latn-RS" sz="1000" b="1" kern="1200" dirty="0"/>
            <a:t> nameštaj</a:t>
          </a:r>
          <a:r>
            <a:rPr lang="en-US" sz="1000" b="1" kern="1200" dirty="0"/>
            <a:t>, </a:t>
          </a:r>
          <a:r>
            <a:rPr lang="en-US" sz="1000" b="1" kern="1200" dirty="0" err="1"/>
            <a:t>hran</a:t>
          </a:r>
          <a:r>
            <a:rPr lang="sr-Latn-RS" sz="1000" b="1" kern="1200" dirty="0"/>
            <a:t>a</a:t>
          </a:r>
          <a:r>
            <a:rPr lang="en-US" sz="1000" b="1" kern="1200" dirty="0"/>
            <a:t>, </a:t>
          </a:r>
          <a:r>
            <a:rPr lang="en-US" sz="1000" b="1" kern="1200" dirty="0" err="1"/>
            <a:t>automobil</a:t>
          </a:r>
          <a:r>
            <a:rPr lang="sr-Latn-RS" sz="1000" b="1" kern="1200" dirty="0"/>
            <a:t>e</a:t>
          </a:r>
          <a:r>
            <a:rPr lang="en-US" sz="1000" b="1" kern="1200" dirty="0"/>
            <a:t> </a:t>
          </a:r>
          <a:r>
            <a:rPr lang="en-US" sz="1000" b="1" kern="1200" dirty="0" err="1"/>
            <a:t>i</a:t>
          </a:r>
          <a:r>
            <a:rPr lang="en-US" sz="1000" b="1" kern="1200" dirty="0"/>
            <a:t> </a:t>
          </a:r>
          <a:r>
            <a:rPr lang="en-US" sz="1000" b="1" kern="1200" dirty="0" err="1"/>
            <a:t>stvaranje</a:t>
          </a:r>
          <a:r>
            <a:rPr lang="en-US" sz="1000" b="1" kern="1200" dirty="0"/>
            <a:t> </a:t>
          </a:r>
          <a:r>
            <a:rPr lang="en-US" sz="1000" b="1" kern="1200" dirty="0" err="1"/>
            <a:t>ugljeničnog</a:t>
          </a:r>
          <a:r>
            <a:rPr lang="en-US" sz="1000" b="1" kern="1200" dirty="0"/>
            <a:t> </a:t>
          </a:r>
          <a:r>
            <a:rPr lang="en-US" sz="1000" b="1" kern="1200" dirty="0" err="1"/>
            <a:t>otiska</a:t>
          </a:r>
          <a:r>
            <a:rPr lang="en-US" sz="1000" b="1" kern="1200" dirty="0"/>
            <a:t> </a:t>
          </a:r>
          <a:r>
            <a:rPr lang="en-US" sz="1000" b="1" kern="1200" dirty="0" err="1"/>
            <a:t>na</a:t>
          </a:r>
          <a:r>
            <a:rPr lang="en-US" sz="1000" b="1" kern="1200" dirty="0"/>
            <a:t> </a:t>
          </a:r>
          <a:r>
            <a:rPr lang="en-US" sz="1000" b="1" kern="1200" dirty="0" err="1"/>
            <a:t>državnim</a:t>
          </a:r>
          <a:r>
            <a:rPr lang="en-US" sz="1000" b="1" kern="1200" dirty="0"/>
            <a:t> </a:t>
          </a:r>
          <a:r>
            <a:rPr lang="en-US" sz="1000" b="1" kern="1200" dirty="0" err="1"/>
            <a:t>zgradama</a:t>
          </a:r>
          <a:r>
            <a:rPr lang="en-US" sz="1000" b="1" kern="1200" dirty="0"/>
            <a:t>.</a:t>
          </a:r>
        </a:p>
      </dsp:txBody>
      <dsp:txXfrm rot="10800000">
        <a:off x="1155020" y="2152507"/>
        <a:ext cx="2733091" cy="828837"/>
      </dsp:txXfrm>
    </dsp:sp>
    <dsp:sp modelId="{B4D6685B-A46C-4B33-B544-8BD0D4EF0D74}">
      <dsp:nvSpPr>
        <dsp:cNvPr id="0" name=""/>
        <dsp:cNvSpPr/>
      </dsp:nvSpPr>
      <dsp:spPr>
        <a:xfrm>
          <a:off x="533392" y="2152507"/>
          <a:ext cx="828837" cy="82883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0" r="-2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6F0B2A-3982-4A86-A4FC-469D13CF7D19}">
      <dsp:nvSpPr>
        <dsp:cNvPr id="0" name=""/>
        <dsp:cNvSpPr/>
      </dsp:nvSpPr>
      <dsp:spPr>
        <a:xfrm rot="10800000">
          <a:off x="943110" y="576"/>
          <a:ext cx="2940300" cy="810033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7202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300" b="1" kern="1200" dirty="0"/>
            <a:t>Dobrovoljno – obaveza za javni sektor za vozila</a:t>
          </a:r>
          <a:endParaRPr lang="en-US" sz="1300" b="1" kern="1200" dirty="0"/>
        </a:p>
      </dsp:txBody>
      <dsp:txXfrm rot="10800000">
        <a:off x="1145618" y="576"/>
        <a:ext cx="2737792" cy="810033"/>
      </dsp:txXfrm>
    </dsp:sp>
    <dsp:sp modelId="{15A22883-FEA4-4B97-BAF3-72433FCD7463}">
      <dsp:nvSpPr>
        <dsp:cNvPr id="0" name=""/>
        <dsp:cNvSpPr/>
      </dsp:nvSpPr>
      <dsp:spPr>
        <a:xfrm>
          <a:off x="538093" y="576"/>
          <a:ext cx="810033" cy="81003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435B3B-61E3-4506-A370-8BCA24FAF293}">
      <dsp:nvSpPr>
        <dsp:cNvPr id="0" name=""/>
        <dsp:cNvSpPr/>
      </dsp:nvSpPr>
      <dsp:spPr>
        <a:xfrm rot="10800000">
          <a:off x="943110" y="1052411"/>
          <a:ext cx="2940300" cy="810033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7202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300" b="1" kern="1200" dirty="0"/>
            <a:t>Formirani kriterijumi za 8 proizvoda. U Kataloniji obavezno.</a:t>
          </a:r>
          <a:endParaRPr lang="en-US" sz="1300" b="1" kern="1200" dirty="0"/>
        </a:p>
      </dsp:txBody>
      <dsp:txXfrm rot="10800000">
        <a:off x="1145618" y="1052411"/>
        <a:ext cx="2737792" cy="810033"/>
      </dsp:txXfrm>
    </dsp:sp>
    <dsp:sp modelId="{F795FBF9-BF12-415D-9388-E0E2D2F1DCB6}">
      <dsp:nvSpPr>
        <dsp:cNvPr id="0" name=""/>
        <dsp:cNvSpPr/>
      </dsp:nvSpPr>
      <dsp:spPr>
        <a:xfrm>
          <a:off x="538093" y="1052411"/>
          <a:ext cx="810033" cy="810033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966A27-3769-4840-AAFB-0E126EEE09DF}">
      <dsp:nvSpPr>
        <dsp:cNvPr id="0" name=""/>
        <dsp:cNvSpPr/>
      </dsp:nvSpPr>
      <dsp:spPr>
        <a:xfrm rot="10800000">
          <a:off x="943110" y="2104245"/>
          <a:ext cx="2940300" cy="810033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7202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RS" sz="1300" b="1" kern="1200" dirty="0"/>
            <a:t>P</a:t>
          </a:r>
          <a:r>
            <a:rPr lang="en-US" sz="1300" b="1" kern="1200" dirty="0" err="1"/>
            <a:t>rogresivna</a:t>
          </a:r>
          <a:r>
            <a:rPr lang="en-US" sz="1300" b="1" kern="1200" dirty="0"/>
            <a:t> </a:t>
          </a:r>
          <a:r>
            <a:rPr lang="en-US" sz="1300" b="1" kern="1200" dirty="0" err="1"/>
            <a:t>obaveznost</a:t>
          </a:r>
          <a:r>
            <a:rPr lang="en-US" sz="1300" b="1" kern="1200" dirty="0"/>
            <a:t> </a:t>
          </a:r>
          <a:r>
            <a:rPr lang="en-US" sz="1300" b="1" kern="1200" dirty="0" err="1"/>
            <a:t>centralnih</a:t>
          </a:r>
          <a:r>
            <a:rPr lang="en-US" sz="1300" b="1" kern="1200" dirty="0"/>
            <a:t> </a:t>
          </a:r>
          <a:r>
            <a:rPr lang="en-US" sz="1300" b="1" kern="1200" dirty="0" err="1"/>
            <a:t>vlasti</a:t>
          </a:r>
          <a:r>
            <a:rPr lang="en-US" sz="1300" b="1" kern="1200" dirty="0"/>
            <a:t> </a:t>
          </a:r>
        </a:p>
      </dsp:txBody>
      <dsp:txXfrm rot="10800000">
        <a:off x="1145618" y="2104245"/>
        <a:ext cx="2737792" cy="810033"/>
      </dsp:txXfrm>
    </dsp:sp>
    <dsp:sp modelId="{54061213-293D-4B03-974F-C4E9EBD33C91}">
      <dsp:nvSpPr>
        <dsp:cNvPr id="0" name=""/>
        <dsp:cNvSpPr/>
      </dsp:nvSpPr>
      <dsp:spPr>
        <a:xfrm>
          <a:off x="538093" y="2104245"/>
          <a:ext cx="810033" cy="810033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582161-0165-4152-93E1-AF82D9A7C1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FF50B1-505F-4AE8-BC35-BAF4D964EA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0ADB02-C50F-4231-B2BF-DC7D619F6A44}" type="datetimeFigureOut">
              <a:rPr lang="en-US" smtClean="0"/>
              <a:t>7/29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BFC6FD-8488-46D9-A842-5D20016D00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770163-4BD1-42C2-897D-6B3ED96588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82FC90-6C9A-4FFE-AEF5-9838D87E663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151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A9777-FE91-4EB0-996A-C8AE0DCF204E}" type="datetimeFigureOut">
              <a:rPr lang="en-US" smtClean="0"/>
              <a:t>7/2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37B6CB-C045-4C39-A0D2-91FAA94D4ED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234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618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234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855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470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091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709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325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944" algn="l" defTabSz="9132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016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C652B7-077F-4B8C-A709-401BAD06C24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192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ipsos-mori.com/ipsosconnect" TargetMode="Externa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y 2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4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26" tIns="48965" rIns="97926" bIns="48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633"/>
              </a:spcBef>
              <a:buClr>
                <a:srgbClr val="222223"/>
              </a:buClr>
            </a:pP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23301" y="122028"/>
            <a:ext cx="4391626" cy="4896768"/>
          </a:xfr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90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512989" y="73619"/>
            <a:ext cx="122467" cy="4952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41" tIns="56319" rIns="112641" bIns="563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endParaRPr lang="en-GB" sz="2200" dirty="0">
              <a:solidFill>
                <a:prstClr val="white"/>
              </a:solidFill>
              <a:latin typeface="Segoe UI Light" panose="020B0502040204020203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48287" y="1675281"/>
            <a:ext cx="1548426" cy="408516"/>
          </a:xfrm>
          <a:solidFill>
            <a:schemeClr val="accent3"/>
          </a:solidFill>
        </p:spPr>
        <p:txBody>
          <a:bodyPr wrap="none" lIns="56319" tIns="48965" rIns="56319" bIns="0" rtlCol="0" anchor="ctr">
            <a:spAutoFit/>
          </a:bodyPr>
          <a:lstStyle>
            <a:lvl1pPr algn="l">
              <a:defRPr lang="en-GB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2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48286" y="2179890"/>
            <a:ext cx="2347188" cy="324512"/>
          </a:xfrm>
          <a:solidFill>
            <a:schemeClr val="tx2"/>
          </a:solidFill>
        </p:spPr>
        <p:txBody>
          <a:bodyPr wrap="none" lIns="48965" tIns="0" bIns="0">
            <a:spAutoFit/>
          </a:bodyPr>
          <a:lstStyle>
            <a:lvl1pPr marL="0" indent="0">
              <a:lnSpc>
                <a:spcPts val="2789"/>
              </a:lnSpc>
              <a:spcBef>
                <a:spcPts val="408"/>
              </a:spcBef>
              <a:spcAft>
                <a:spcPts val="0"/>
              </a:spcAft>
              <a:buNone/>
              <a:defRPr sz="1900" b="1">
                <a:solidFill>
                  <a:schemeClr val="bg1"/>
                </a:solidFill>
                <a:latin typeface="+mj-lt"/>
              </a:defRPr>
            </a:lvl1pPr>
            <a:lvl2pPr marL="357635" indent="0">
              <a:buNone/>
              <a:defRPr/>
            </a:lvl2pPr>
            <a:lvl3pPr marL="715270" indent="0">
              <a:buNone/>
              <a:defRPr/>
            </a:lvl3pPr>
            <a:lvl4pPr marL="1072905" indent="0">
              <a:buNone/>
              <a:defRPr/>
            </a:lvl4pPr>
            <a:lvl5pPr marL="1430539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48568" y="2669716"/>
            <a:ext cx="3920709" cy="1419815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7635" indent="0">
              <a:buNone/>
              <a:defRPr sz="1400">
                <a:solidFill>
                  <a:schemeClr val="bg1"/>
                </a:solidFill>
              </a:defRPr>
            </a:lvl2pPr>
            <a:lvl3pPr marL="715270" indent="0">
              <a:buNone/>
              <a:defRPr sz="1200">
                <a:solidFill>
                  <a:schemeClr val="bg1"/>
                </a:solidFill>
              </a:defRPr>
            </a:lvl3pPr>
            <a:lvl4pPr marL="1072905" indent="0">
              <a:buNone/>
              <a:defRPr sz="1200">
                <a:solidFill>
                  <a:schemeClr val="bg1"/>
                </a:solidFill>
              </a:defRPr>
            </a:lvl4pPr>
            <a:lvl5pPr marL="1430539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747293" y="5033569"/>
            <a:ext cx="289891" cy="936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fld id="{08492756-E806-4604-9C5F-A6997CE6540C}" type="slidenum">
              <a:rPr lang="en-GB" sz="600" smtClean="0">
                <a:solidFill>
                  <a:srgbClr val="222223"/>
                </a:solidFill>
                <a:latin typeface="Segoe UI Light" panose="020B0502040204020203" pitchFamily="34" charset="0"/>
              </a:rPr>
              <a:pPr algn="r" defTabSz="715269">
                <a:lnSpc>
                  <a:spcPct val="110000"/>
                </a:lnSpc>
                <a:spcBef>
                  <a:spcPts val="1878"/>
                </a:spcBef>
                <a:buClr>
                  <a:srgbClr val="222223"/>
                </a:buClr>
              </a:pPr>
              <a:t>‹#›</a:t>
            </a:fld>
            <a:endParaRPr lang="en-GB" sz="600" dirty="0">
              <a:solidFill>
                <a:srgbClr val="222223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2687" y="4702209"/>
            <a:ext cx="1554866" cy="26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5223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/Fly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4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endParaRPr lang="en-GB" sz="1360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23301" y="122028"/>
            <a:ext cx="4391626" cy="4903456"/>
          </a:xfrm>
          <a:pattFill prst="dkDnDiag">
            <a:fgClr>
              <a:schemeClr val="tx1">
                <a:lumMod val="10000"/>
                <a:lumOff val="90000"/>
              </a:schemeClr>
            </a:fgClr>
            <a:bgClr>
              <a:schemeClr val="bg1"/>
            </a:bgClr>
          </a:pattFill>
        </p:spPr>
        <p:txBody>
          <a:bodyPr vert="horz" lIns="0" tIns="41410" rIns="0" bIns="41410" rtlCol="0">
            <a:normAutofit/>
          </a:bodyPr>
          <a:lstStyle>
            <a:lvl1pPr>
              <a:defRPr lang="en-GB" sz="1088" baseline="0" dirty="0"/>
            </a:lvl1pPr>
          </a:lstStyle>
          <a:p>
            <a:pPr marL="0" lvl="0" indent="0">
              <a:buNone/>
            </a:pPr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512984" y="73619"/>
            <a:ext cx="122467" cy="49529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74" tIns="56337" rIns="112674" bIns="563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endParaRPr lang="en-GB" sz="2177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48287" y="1700003"/>
            <a:ext cx="1630798" cy="359073"/>
          </a:xfr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2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48286" y="2179890"/>
            <a:ext cx="2359556" cy="293108"/>
          </a:xfrm>
          <a:solidFill>
            <a:schemeClr val="bg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408"/>
              </a:spcBef>
              <a:spcAft>
                <a:spcPts val="0"/>
              </a:spcAft>
              <a:buNone/>
              <a:defRPr sz="1905" b="1">
                <a:solidFill>
                  <a:sysClr val="windowText" lastClr="000000"/>
                </a:solidFill>
                <a:latin typeface="+mj-lt"/>
              </a:defRPr>
            </a:lvl1pPr>
            <a:lvl2pPr marL="357719" indent="0">
              <a:buNone/>
              <a:defRPr/>
            </a:lvl2pPr>
            <a:lvl3pPr marL="715437" indent="0">
              <a:buNone/>
              <a:defRPr/>
            </a:lvl3pPr>
            <a:lvl4pPr marL="1073156" indent="0">
              <a:buNone/>
              <a:defRPr/>
            </a:lvl4pPr>
            <a:lvl5pPr marL="1430873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48563" y="2669716"/>
            <a:ext cx="3920709" cy="212174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360">
                <a:solidFill>
                  <a:schemeClr val="bg1"/>
                </a:solidFill>
              </a:defRPr>
            </a:lvl1pPr>
            <a:lvl2pPr marL="357719" indent="0">
              <a:buNone/>
              <a:defRPr sz="1360">
                <a:solidFill>
                  <a:schemeClr val="bg1"/>
                </a:solidFill>
              </a:defRPr>
            </a:lvl2pPr>
            <a:lvl3pPr marL="715437" indent="0">
              <a:buNone/>
              <a:defRPr sz="1224">
                <a:solidFill>
                  <a:schemeClr val="bg1"/>
                </a:solidFill>
              </a:defRPr>
            </a:lvl3pPr>
            <a:lvl4pPr marL="1073156" indent="0">
              <a:buNone/>
              <a:defRPr sz="1224">
                <a:solidFill>
                  <a:schemeClr val="bg1"/>
                </a:solidFill>
              </a:defRPr>
            </a:lvl4pPr>
            <a:lvl5pPr marL="1430873" indent="0">
              <a:buNone/>
              <a:defRPr sz="122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747288" y="5033568"/>
            <a:ext cx="289891" cy="954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612" smtClean="0">
                <a:solidFill>
                  <a:schemeClr val="tx1"/>
                </a:solidFill>
                <a:latin typeface="+mn-lt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612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20754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488">
          <p15:clr>
            <a:srgbClr val="5ACBF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92370" y="1944820"/>
            <a:ext cx="4359259" cy="4085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701E3-D482-4312-86DD-F71B27664093}" type="datetimeFigureOut">
              <a:rPr lang="en-US" smtClean="0"/>
              <a:t>7/2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D83C08-47A9-4433-B47A-1209CB0086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329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4000" y="643468"/>
            <a:ext cx="6723160" cy="461548"/>
          </a:xfr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34000" y="248323"/>
            <a:ext cx="6615283" cy="442661"/>
          </a:xfrm>
        </p:spPr>
        <p:txBody>
          <a:bodyPr anchor="b">
            <a:normAutofit/>
          </a:bodyPr>
          <a:lstStyle>
            <a:lvl1pPr marL="0" indent="0">
              <a:buNone/>
              <a:defRPr sz="19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35007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69336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235007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235007" y="1388443"/>
            <a:ext cx="1948830" cy="442660"/>
          </a:xfrm>
          <a:solidFill>
            <a:schemeClr val="tx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469336" y="1388443"/>
            <a:ext cx="1948830" cy="442660"/>
          </a:xfrm>
          <a:solidFill>
            <a:schemeClr val="accent2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2469336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70366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4703665" y="1388443"/>
            <a:ext cx="1948830" cy="442660"/>
          </a:xfrm>
          <a:solidFill>
            <a:schemeClr val="accent6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470366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6937995" y="3481305"/>
            <a:ext cx="1948830" cy="840694"/>
          </a:xfrm>
        </p:spPr>
        <p:txBody>
          <a:bodyPr/>
          <a:lstStyle>
            <a:lvl1pPr>
              <a:defRPr lang="en-US" sz="120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6937995" y="1388443"/>
            <a:ext cx="1948830" cy="442660"/>
          </a:xfrm>
          <a:solidFill>
            <a:schemeClr val="accent3"/>
          </a:solidFill>
        </p:spPr>
        <p:txBody>
          <a:bodyPr lIns="73459" rIns="24486" anchor="ctr">
            <a:normAutofit/>
          </a:bodyPr>
          <a:lstStyle>
            <a:lvl1pPr>
              <a:lnSpc>
                <a:spcPct val="80000"/>
              </a:lnSpc>
              <a:spcBef>
                <a:spcPts val="816"/>
              </a:spcBef>
              <a:defRPr lang="en-US" sz="1600" kern="1200" cap="all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97599" indent="-137132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6937995" y="1831103"/>
            <a:ext cx="1948830" cy="1550392"/>
          </a:xfrm>
        </p:spPr>
        <p:txBody>
          <a:bodyPr lIns="72000" tIns="72000" rIns="72000" bIns="72000"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139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45704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701E3-D482-4312-86DD-F71B27664093}" type="datetimeFigureOut">
              <a:rPr lang="en-US" smtClean="0"/>
              <a:t>7/2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D83C08-47A9-4433-B47A-1209CB0086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647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7855BD9A-486C-6F49-BFF4-AA22478A8A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2283714" cy="51435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287199" y="4664426"/>
            <a:ext cx="270028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itre 7">
            <a:extLst>
              <a:ext uri="{FF2B5EF4-FFF2-40B4-BE49-F238E27FC236}">
                <a16:creationId xmlns:a16="http://schemas.microsoft.com/office/drawing/2014/main" id="{250AEF5A-7F7B-D049-B31A-B8AF56DD0C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748" y="287112"/>
            <a:ext cx="3998214" cy="362407"/>
          </a:xfrm>
        </p:spPr>
        <p:txBody>
          <a:bodyPr/>
          <a:lstStyle>
            <a:lvl1pPr>
              <a:defRPr sz="195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E323A9E4-6BD8-544E-8BFB-8C48411908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841748" y="1004466"/>
            <a:ext cx="3998214" cy="1015663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0345477-83D7-AD44-B987-4836437D3FC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555748" y="1297308"/>
            <a:ext cx="1744218" cy="154657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2313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287199" y="4664426"/>
            <a:ext cx="270028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590" y="287112"/>
            <a:ext cx="3442716" cy="362407"/>
          </a:xfrm>
        </p:spPr>
        <p:txBody>
          <a:bodyPr/>
          <a:lstStyle>
            <a:lvl1pPr>
              <a:defRPr sz="195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8FCBB89-0E9E-EB47-A48E-21D614374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03590" y="1028991"/>
            <a:ext cx="3442716" cy="3298036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450"/>
              </a:spcBef>
              <a:spcAft>
                <a:spcPts val="450"/>
              </a:spcAf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33375" indent="-233363">
              <a:spcBef>
                <a:spcPts val="450"/>
              </a:spcBef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450"/>
              </a:spcBef>
              <a:spcAft>
                <a:spcPts val="450"/>
              </a:spcAft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644756-0CF8-254C-AD84-B29C9E8626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18788" y="1714501"/>
            <a:ext cx="2288286" cy="34289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BB01689-F67F-E048-A430-A7FC6C088E9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853428" y="941212"/>
            <a:ext cx="1744218" cy="1546577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2001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287199" y="4664426"/>
            <a:ext cx="270028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590" y="287112"/>
            <a:ext cx="2516886" cy="362407"/>
          </a:xfrm>
        </p:spPr>
        <p:txBody>
          <a:bodyPr/>
          <a:lstStyle>
            <a:lvl1pPr>
              <a:defRPr sz="195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FB27B2-E4E8-FA4F-B596-98A94D6D2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89" y="1026370"/>
            <a:ext cx="2516886" cy="323165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1EF1DE-0EB6-DC4F-8E1E-0958DFD50410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230880" y="1179069"/>
            <a:ext cx="2682239" cy="1061829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D7C3D6-C7A8-6F40-9C63-4DDAE009F15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230880" y="3795942"/>
            <a:ext cx="2682239" cy="1061829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E47D65-6997-1347-A248-B235FD2EE85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315648" y="1179069"/>
            <a:ext cx="2682239" cy="1061829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4C6D043-DFA5-1149-A97A-3D1B443290F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315648" y="3795942"/>
            <a:ext cx="2682239" cy="1061829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050" b="1" i="0" cap="none">
                <a:solidFill>
                  <a:schemeClr val="bg1"/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F1B92AF-B0FF-B941-99E0-CFB88164E77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03588" y="1336765"/>
            <a:ext cx="2515809" cy="1569660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14313" marR="0" indent="-214313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192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FED061ED-BA65-C042-9851-7C54F10EE6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0856" cy="51435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5" name="Titre 7">
            <a:extLst>
              <a:ext uri="{FF2B5EF4-FFF2-40B4-BE49-F238E27FC236}">
                <a16:creationId xmlns:a16="http://schemas.microsoft.com/office/drawing/2014/main" id="{2F5F1712-657A-944B-B2AD-2420C198C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1748" y="287112"/>
            <a:ext cx="3998215" cy="362407"/>
          </a:xfrm>
        </p:spPr>
        <p:txBody>
          <a:bodyPr/>
          <a:lstStyle>
            <a:lvl1pPr>
              <a:defRPr sz="195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287199" y="4664426"/>
            <a:ext cx="270028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F0DD6F3-CE20-E146-8CF5-0A382F4B04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338514" y="1251894"/>
            <a:ext cx="350144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9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0F5A3F07-40B0-9D4E-8662-04AFDD31FA3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338514" y="2076042"/>
            <a:ext cx="350144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9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71BF57B-6C05-7F44-8C2A-1AAD3BF9BB9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338514" y="2901144"/>
            <a:ext cx="350144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9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E833A75-1213-6746-89A6-BE375A8A823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338514" y="3730128"/>
            <a:ext cx="3501441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9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900" cap="none"/>
            </a:lvl2pPr>
            <a:lvl3pPr>
              <a:defRPr sz="900" cap="none">
                <a:solidFill>
                  <a:schemeClr val="tx1"/>
                </a:solidFill>
              </a:defRPr>
            </a:lvl3pPr>
            <a:lvl4pPr>
              <a:defRPr sz="900" cap="none"/>
            </a:lvl4pPr>
            <a:lvl5pPr>
              <a:defRPr sz="9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174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y - v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22052" y="122028"/>
            <a:ext cx="8913524" cy="2449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41" tIns="56319" rIns="112641" bIns="563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endParaRPr lang="en-GB" sz="2200" dirty="0">
              <a:solidFill>
                <a:prstClr val="white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78833" y="3723888"/>
            <a:ext cx="8410444" cy="794367"/>
          </a:xfrm>
        </p:spPr>
        <p:txBody>
          <a:bodyPr wrap="square" lIns="56319" tIns="28160" rIns="56319" bIns="28160">
            <a:normAutofit/>
          </a:bodyPr>
          <a:lstStyle>
            <a:lvl1pPr marL="0" indent="0">
              <a:spcBef>
                <a:spcPts val="939"/>
              </a:spcBef>
              <a:buNone/>
              <a:defRPr sz="1300">
                <a:solidFill>
                  <a:schemeClr val="bg1"/>
                </a:solidFill>
              </a:defRPr>
            </a:lvl1pPr>
            <a:lvl2pPr marL="357635" indent="0">
              <a:buNone/>
              <a:defRPr>
                <a:solidFill>
                  <a:schemeClr val="bg1"/>
                </a:solidFill>
              </a:defRPr>
            </a:lvl2pPr>
            <a:lvl3pPr marL="715269" indent="0">
              <a:buNone/>
              <a:defRPr>
                <a:solidFill>
                  <a:schemeClr val="bg1"/>
                </a:solidFill>
              </a:defRPr>
            </a:lvl3pPr>
            <a:lvl4pPr marL="1072904" indent="0">
              <a:buNone/>
              <a:defRPr>
                <a:solidFill>
                  <a:schemeClr val="bg1"/>
                </a:solidFill>
              </a:defRPr>
            </a:lvl4pPr>
            <a:lvl5pPr marL="14305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22052" y="122029"/>
            <a:ext cx="8898820" cy="23885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00" baseline="0"/>
            </a:lvl1pPr>
          </a:lstStyle>
          <a:p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4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26" tIns="48965" rIns="97926" bIns="48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633"/>
              </a:spcBef>
              <a:buClr>
                <a:srgbClr val="222223"/>
              </a:buClr>
            </a:pP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8841" y="2784593"/>
            <a:ext cx="2512215" cy="408516"/>
          </a:xfrm>
          <a:solidFill>
            <a:schemeClr val="accent3"/>
          </a:solidFill>
        </p:spPr>
        <p:txBody>
          <a:bodyPr wrap="none" lIns="56319" tIns="48965" rIns="56319" bIns="0" rtlCol="0" anchor="ctr">
            <a:spAutoFit/>
          </a:bodyPr>
          <a:lstStyle>
            <a:lvl1pPr algn="l">
              <a:defRPr lang="en-GB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78835" y="3267803"/>
            <a:ext cx="2347188" cy="324512"/>
          </a:xfrm>
          <a:solidFill>
            <a:schemeClr val="tx2"/>
          </a:solidFill>
        </p:spPr>
        <p:txBody>
          <a:bodyPr wrap="none" lIns="48965" tIns="0" bIns="0">
            <a:spAutoFit/>
          </a:bodyPr>
          <a:lstStyle>
            <a:lvl1pPr marL="0" indent="0">
              <a:lnSpc>
                <a:spcPts val="2789"/>
              </a:lnSpc>
              <a:spcBef>
                <a:spcPts val="408"/>
              </a:spcBef>
              <a:spcAft>
                <a:spcPts val="0"/>
              </a:spcAft>
              <a:buNone/>
              <a:defRPr sz="1900" b="1">
                <a:solidFill>
                  <a:schemeClr val="bg1"/>
                </a:solidFill>
                <a:latin typeface="+mj-lt"/>
              </a:defRPr>
            </a:lvl1pPr>
            <a:lvl2pPr marL="357635" indent="0">
              <a:buNone/>
              <a:defRPr/>
            </a:lvl2pPr>
            <a:lvl3pPr marL="715270" indent="0">
              <a:buNone/>
              <a:defRPr/>
            </a:lvl3pPr>
            <a:lvl4pPr marL="1072905" indent="0">
              <a:buNone/>
              <a:defRPr/>
            </a:lvl4pPr>
            <a:lvl5pPr marL="1430539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2510529"/>
            <a:ext cx="9079262" cy="122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26" tIns="48965" rIns="97926" bIns="48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633"/>
              </a:spcBef>
              <a:buClr>
                <a:srgbClr val="222223"/>
              </a:buClr>
            </a:pP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377728" y="5018805"/>
            <a:ext cx="4186602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715269"/>
            <a:r>
              <a:rPr lang="en-GB" sz="500" dirty="0">
                <a:solidFill>
                  <a:srgbClr val="222223"/>
                </a:solidFill>
              </a:rPr>
              <a:t>Document Name Here  |  Month 2016 |  Version 1  |  Public  |  Internal Use Only  |  Confidential  |  Strictly  Confidential (DELETE CLASSIFICATION)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747293" y="5033569"/>
            <a:ext cx="289891" cy="936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fld id="{08492756-E806-4604-9C5F-A6997CE6540C}" type="slidenum">
              <a:rPr lang="en-GB" sz="600" smtClean="0">
                <a:solidFill>
                  <a:srgbClr val="222223"/>
                </a:solidFill>
                <a:latin typeface="Segoe UI Light" panose="020B0502040204020203" pitchFamily="34" charset="0"/>
              </a:rPr>
              <a:pPr algn="r" defTabSz="715269">
                <a:lnSpc>
                  <a:spcPct val="110000"/>
                </a:lnSpc>
                <a:spcBef>
                  <a:spcPts val="1878"/>
                </a:spcBef>
                <a:buClr>
                  <a:srgbClr val="222223"/>
                </a:buClr>
              </a:pPr>
              <a:t>‹#›</a:t>
            </a:fld>
            <a:endParaRPr lang="en-GB" sz="600" dirty="0">
              <a:solidFill>
                <a:srgbClr val="222223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46" y="4702209"/>
            <a:ext cx="1554866" cy="26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2717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5531" y="629923"/>
            <a:ext cx="2512215" cy="408516"/>
          </a:xfrm>
          <a:solidFill>
            <a:schemeClr val="accent3"/>
          </a:solidFill>
        </p:spPr>
        <p:txBody>
          <a:bodyPr/>
          <a:lstStyle>
            <a:lvl1pPr algn="l">
              <a:defRPr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385525" y="1520891"/>
            <a:ext cx="8372950" cy="28753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80172" y="1110322"/>
            <a:ext cx="1687398" cy="249620"/>
          </a:xfrm>
          <a:solidFill>
            <a:schemeClr val="tx2"/>
          </a:solidFill>
        </p:spPr>
        <p:txBody>
          <a:bodyPr vert="horz" wrap="none" lIns="48965" tIns="0" rIns="48965" bIns="0" rtlCol="0" anchor="ctr">
            <a:spAutoFit/>
          </a:bodyPr>
          <a:lstStyle>
            <a:lvl1pPr>
              <a:buFontTx/>
              <a:buNone/>
              <a:defRPr lang="en-US" sz="1600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621830">
              <a:spcBef>
                <a:spcPts val="204"/>
              </a:spcBef>
              <a:spcAft>
                <a:spcPts val="204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7419297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bottom image x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64742" y="2792936"/>
            <a:ext cx="8970837" cy="2227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84" tIns="56342" rIns="112684" bIns="5634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541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endParaRPr lang="en-GB" sz="2200" dirty="0">
              <a:solidFill>
                <a:prstClr val="white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70104" y="1385201"/>
            <a:ext cx="8003800" cy="440721"/>
          </a:xfrm>
          <a:noFill/>
        </p:spPr>
        <p:txBody>
          <a:bodyPr wrap="square" anchor="ctr"/>
          <a:lstStyle>
            <a:lvl1pPr>
              <a:defRPr sz="4200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0" hasCustomPrompt="1"/>
          </p:nvPr>
        </p:nvSpPr>
        <p:spPr>
          <a:xfrm>
            <a:off x="122053" y="2914616"/>
            <a:ext cx="8894780" cy="210997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100" baseline="0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10" name="Rectangle 6"/>
          <p:cNvSpPr/>
          <p:nvPr userDrawn="1"/>
        </p:nvSpPr>
        <p:spPr bwMode="gray">
          <a:xfrm>
            <a:off x="0" y="4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63" tIns="48982" rIns="97963" bIns="489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541">
              <a:lnSpc>
                <a:spcPct val="110000"/>
              </a:lnSpc>
              <a:spcBef>
                <a:spcPts val="1633"/>
              </a:spcBef>
              <a:buClr>
                <a:srgbClr val="222223"/>
              </a:buClr>
            </a:pP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367180" y="5020398"/>
            <a:ext cx="3331084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715541"/>
            <a:r>
              <a:rPr lang="en-US" sz="500" dirty="0" err="1">
                <a:solidFill>
                  <a:srgbClr val="222223"/>
                </a:solidFill>
              </a:rPr>
              <a:t>Efektivne</a:t>
            </a:r>
            <a:r>
              <a:rPr lang="en-US" sz="500" dirty="0">
                <a:solidFill>
                  <a:srgbClr val="222223"/>
                </a:solidFill>
              </a:rPr>
              <a:t> </a:t>
            </a:r>
            <a:r>
              <a:rPr lang="en-US" sz="500" dirty="0" err="1">
                <a:solidFill>
                  <a:srgbClr val="222223"/>
                </a:solidFill>
              </a:rPr>
              <a:t>javne</a:t>
            </a:r>
            <a:r>
              <a:rPr lang="en-US" sz="500" dirty="0">
                <a:solidFill>
                  <a:srgbClr val="222223"/>
                </a:solidFill>
              </a:rPr>
              <a:t> </a:t>
            </a:r>
            <a:r>
              <a:rPr lang="en-US" sz="500" dirty="0" err="1">
                <a:solidFill>
                  <a:srgbClr val="222223"/>
                </a:solidFill>
              </a:rPr>
              <a:t>nabavke</a:t>
            </a:r>
            <a:r>
              <a:rPr lang="en-US" sz="500" dirty="0">
                <a:solidFill>
                  <a:srgbClr val="222223"/>
                </a:solidFill>
              </a:rPr>
              <a:t> u </a:t>
            </a:r>
            <a:r>
              <a:rPr lang="en-US" sz="500" dirty="0" err="1">
                <a:solidFill>
                  <a:srgbClr val="222223"/>
                </a:solidFill>
              </a:rPr>
              <a:t>službi</a:t>
            </a:r>
            <a:r>
              <a:rPr lang="en-US" sz="500" dirty="0">
                <a:solidFill>
                  <a:srgbClr val="222223"/>
                </a:solidFill>
              </a:rPr>
              <a:t> </a:t>
            </a:r>
            <a:r>
              <a:rPr lang="en-US" sz="500" dirty="0" err="1">
                <a:solidFill>
                  <a:srgbClr val="222223"/>
                </a:solidFill>
              </a:rPr>
              <a:t>ekonomskog</a:t>
            </a:r>
            <a:r>
              <a:rPr lang="en-US" sz="500" dirty="0">
                <a:solidFill>
                  <a:srgbClr val="222223"/>
                </a:solidFill>
              </a:rPr>
              <a:t> </a:t>
            </a:r>
            <a:r>
              <a:rPr lang="en-US" sz="500" dirty="0" err="1">
                <a:solidFill>
                  <a:srgbClr val="222223"/>
                </a:solidFill>
              </a:rPr>
              <a:t>rasta</a:t>
            </a:r>
            <a:r>
              <a:rPr lang="en-GB" sz="500" dirty="0">
                <a:solidFill>
                  <a:srgbClr val="222223"/>
                </a:solidFill>
              </a:rPr>
              <a:t>| </a:t>
            </a:r>
            <a:r>
              <a:rPr lang="en-US" sz="500" dirty="0">
                <a:solidFill>
                  <a:srgbClr val="222223"/>
                </a:solidFill>
              </a:rPr>
              <a:t>Jun</a:t>
            </a:r>
            <a:r>
              <a:rPr lang="sr-Latn-RS" sz="500" dirty="0">
                <a:solidFill>
                  <a:srgbClr val="222223"/>
                </a:solidFill>
              </a:rPr>
              <a:t> 2021</a:t>
            </a:r>
            <a:endParaRPr lang="en-GB" sz="500" dirty="0">
              <a:solidFill>
                <a:srgbClr val="222223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747289" y="5033569"/>
            <a:ext cx="289891" cy="936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5541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fld id="{08492756-E806-4604-9C5F-A6997CE6540C}" type="slidenum">
              <a:rPr lang="en-GB" sz="600" smtClean="0">
                <a:solidFill>
                  <a:srgbClr val="222223"/>
                </a:solidFill>
                <a:latin typeface="Segoe UI Light" panose="020B0502040204020203" pitchFamily="34" charset="0"/>
              </a:rPr>
              <a:pPr algn="r" defTabSz="715541">
                <a:lnSpc>
                  <a:spcPct val="110000"/>
                </a:lnSpc>
                <a:spcBef>
                  <a:spcPts val="1878"/>
                </a:spcBef>
                <a:buClr>
                  <a:srgbClr val="222223"/>
                </a:buClr>
              </a:pPr>
              <a:t>‹#›</a:t>
            </a:fld>
            <a:endParaRPr lang="en-GB" sz="600" dirty="0">
              <a:solidFill>
                <a:srgbClr val="222223"/>
              </a:solidFill>
              <a:latin typeface="Segoe UI Light" panose="020B050204020402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246" y="4702209"/>
            <a:ext cx="1554866" cy="26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91538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3 x ima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1" y="2730397"/>
            <a:ext cx="9143999" cy="24131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74" tIns="56337" rIns="112674" bIns="563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endParaRPr lang="en-GB" sz="2177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70102" y="1306318"/>
            <a:ext cx="8003800" cy="598488"/>
          </a:xfrm>
          <a:noFill/>
        </p:spPr>
        <p:txBody>
          <a:bodyPr wrap="square" anchor="ctr"/>
          <a:lstStyle>
            <a:lvl1pPr>
              <a:lnSpc>
                <a:spcPts val="4149"/>
              </a:lnSpc>
              <a:defRPr sz="4217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0" hasCustomPrompt="1"/>
          </p:nvPr>
        </p:nvSpPr>
        <p:spPr>
          <a:xfrm>
            <a:off x="132582" y="2869562"/>
            <a:ext cx="2865712" cy="214237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224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28" name="Picture Placeholder 21"/>
          <p:cNvSpPr>
            <a:spLocks noGrp="1"/>
          </p:cNvSpPr>
          <p:nvPr>
            <p:ph type="pic" sz="quarter" idx="11" hasCustomPrompt="1"/>
          </p:nvPr>
        </p:nvSpPr>
        <p:spPr>
          <a:xfrm>
            <a:off x="3142335" y="2869562"/>
            <a:ext cx="2865712" cy="214237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224" baseline="0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29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6152088" y="2869562"/>
            <a:ext cx="2865712" cy="214237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224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2980" y="4991904"/>
            <a:ext cx="492596" cy="131139"/>
          </a:xfrm>
          <a:prstGeom prst="rect">
            <a:avLst/>
          </a:prstGeom>
          <a:noFill/>
        </p:spPr>
        <p:txBody>
          <a:bodyPr wrap="square" lIns="56337" tIns="28169" rIns="56337" bIns="28169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7" name="Rectangle 6"/>
          <p:cNvSpPr/>
          <p:nvPr userDrawn="1"/>
        </p:nvSpPr>
        <p:spPr bwMode="gray"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endParaRPr lang="en-GB" sz="136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542980" y="5040047"/>
            <a:ext cx="492596" cy="74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386622" y="5020393"/>
            <a:ext cx="3331084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32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" dirty="0">
                <a:solidFill>
                  <a:srgbClr val="222223"/>
                </a:solidFill>
              </a:rPr>
              <a:t>Surveys of the health sector in Serbia </a:t>
            </a:r>
            <a:r>
              <a:rPr lang="en-GB" sz="400" dirty="0">
                <a:solidFill>
                  <a:srgbClr val="222223"/>
                </a:solidFill>
              </a:rPr>
              <a:t>| </a:t>
            </a:r>
            <a:r>
              <a:rPr lang="sr-Latn-RS" sz="400" dirty="0">
                <a:solidFill>
                  <a:srgbClr val="222223"/>
                </a:solidFill>
              </a:rPr>
              <a:t>March 2021</a:t>
            </a:r>
            <a:r>
              <a:rPr lang="sr-Latn-RS" sz="476" dirty="0">
                <a:solidFill>
                  <a:schemeClr val="tx1"/>
                </a:solidFill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89411" y="4925324"/>
            <a:ext cx="639599" cy="742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476" b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psos</a:t>
            </a:r>
            <a:r>
              <a:rPr lang="sr-Latn-RS" sz="476" b="0" baseline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Strategic Marketing</a:t>
            </a:r>
            <a:endParaRPr lang="en-GB" sz="476" b="0" dirty="0">
              <a:solidFill>
                <a:schemeClr val="bg1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90695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2 x ima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1" y="2750766"/>
            <a:ext cx="9097626" cy="23927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74" tIns="56337" rIns="112674" bIns="563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endParaRPr lang="en-GB" sz="2177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70102" y="1373323"/>
            <a:ext cx="8003800" cy="464477"/>
          </a:xfrm>
          <a:noFill/>
        </p:spPr>
        <p:txBody>
          <a:bodyPr wrap="square" anchor="ctr"/>
          <a:lstStyle>
            <a:lvl1pPr>
              <a:defRPr sz="4217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9" name="Picture Placeholder 21"/>
          <p:cNvSpPr>
            <a:spLocks noGrp="1"/>
          </p:cNvSpPr>
          <p:nvPr>
            <p:ph type="pic" sz="quarter" idx="12" hasCustomPrompt="1"/>
          </p:nvPr>
        </p:nvSpPr>
        <p:spPr>
          <a:xfrm>
            <a:off x="4633234" y="2873210"/>
            <a:ext cx="4383287" cy="214276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88" baseline="0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542980" y="4991904"/>
            <a:ext cx="492596" cy="131139"/>
          </a:xfrm>
          <a:prstGeom prst="rect">
            <a:avLst/>
          </a:prstGeom>
          <a:noFill/>
        </p:spPr>
        <p:txBody>
          <a:bodyPr wrap="square" lIns="56337" tIns="28169" rIns="56337" bIns="28169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3" name="Picture Placeholder 21"/>
          <p:cNvSpPr>
            <a:spLocks noGrp="1"/>
          </p:cNvSpPr>
          <p:nvPr>
            <p:ph type="pic" sz="quarter" idx="13" hasCustomPrompt="1"/>
          </p:nvPr>
        </p:nvSpPr>
        <p:spPr>
          <a:xfrm>
            <a:off x="124684" y="2873210"/>
            <a:ext cx="4383731" cy="214276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88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16" name="Rectangle 6"/>
          <p:cNvSpPr/>
          <p:nvPr userDrawn="1"/>
        </p:nvSpPr>
        <p:spPr bwMode="gray"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endParaRPr lang="en-GB" sz="136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8542980" y="5040047"/>
            <a:ext cx="492596" cy="74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386622" y="5020393"/>
            <a:ext cx="3331084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32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" dirty="0">
                <a:solidFill>
                  <a:srgbClr val="222223"/>
                </a:solidFill>
              </a:rPr>
              <a:t>Surveys of the health sector in Serbia </a:t>
            </a:r>
            <a:r>
              <a:rPr lang="en-GB" sz="400" dirty="0">
                <a:solidFill>
                  <a:srgbClr val="222223"/>
                </a:solidFill>
              </a:rPr>
              <a:t>| </a:t>
            </a:r>
            <a:r>
              <a:rPr lang="sr-Latn-RS" sz="400" dirty="0">
                <a:solidFill>
                  <a:srgbClr val="222223"/>
                </a:solidFill>
              </a:rPr>
              <a:t>March 2021</a:t>
            </a:r>
            <a:r>
              <a:rPr lang="en-GB" sz="476" dirty="0">
                <a:solidFill>
                  <a:schemeClr val="tx1"/>
                </a:solidFill>
                <a:latin typeface="Segoe UI Light" panose="020B0502040204020203" pitchFamily="34" charset="0"/>
              </a:rPr>
              <a:t>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89411" y="4925324"/>
            <a:ext cx="636393" cy="742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476" b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psos</a:t>
            </a:r>
            <a:r>
              <a:rPr lang="en-GB" sz="476" b="0" baseline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MORI – Your WSBL</a:t>
            </a:r>
            <a:endParaRPr lang="en-GB" sz="476" b="0" dirty="0">
              <a:solidFill>
                <a:schemeClr val="bg1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4107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with bottom image x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64738" y="2792935"/>
            <a:ext cx="8970837" cy="22274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74" tIns="56337" rIns="112674" bIns="5633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endParaRPr lang="en-GB" sz="2177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70102" y="1373323"/>
            <a:ext cx="8003800" cy="464477"/>
          </a:xfrm>
          <a:noFill/>
        </p:spPr>
        <p:txBody>
          <a:bodyPr wrap="square" anchor="ctr"/>
          <a:lstStyle>
            <a:lvl1pPr>
              <a:defRPr sz="4217"/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0" hasCustomPrompt="1"/>
          </p:nvPr>
        </p:nvSpPr>
        <p:spPr>
          <a:xfrm>
            <a:off x="122050" y="2914615"/>
            <a:ext cx="8894780" cy="210997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88" baseline="0"/>
            </a:lvl1pPr>
          </a:lstStyle>
          <a:p>
            <a:r>
              <a:rPr lang="en-GB" dirty="0"/>
              <a:t>Click to insert imag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42980" y="4991904"/>
            <a:ext cx="492596" cy="131139"/>
          </a:xfrm>
          <a:prstGeom prst="rect">
            <a:avLst/>
          </a:prstGeom>
          <a:noFill/>
        </p:spPr>
        <p:txBody>
          <a:bodyPr wrap="square" lIns="56337" tIns="28169" rIns="56337" bIns="28169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10" name="Rectangle 6"/>
          <p:cNvSpPr/>
          <p:nvPr userDrawn="1"/>
        </p:nvSpPr>
        <p:spPr bwMode="gray"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endParaRPr lang="en-GB" sz="136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42980" y="5040047"/>
            <a:ext cx="492596" cy="74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386622" y="5020393"/>
            <a:ext cx="3331084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7154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" dirty="0">
                <a:solidFill>
                  <a:srgbClr val="222223"/>
                </a:solidFill>
              </a:rPr>
              <a:t>Surveys of the health sector in Serbia </a:t>
            </a:r>
            <a:r>
              <a:rPr lang="en-GB" sz="400" dirty="0">
                <a:solidFill>
                  <a:srgbClr val="222223"/>
                </a:solidFill>
              </a:rPr>
              <a:t>| </a:t>
            </a:r>
            <a:r>
              <a:rPr lang="sr-Latn-RS" sz="400" dirty="0">
                <a:solidFill>
                  <a:srgbClr val="222223"/>
                </a:solidFill>
              </a:rPr>
              <a:t>March 2021</a:t>
            </a:r>
            <a:r>
              <a:rPr lang="sr-Latn-RS" sz="476" dirty="0">
                <a:solidFill>
                  <a:schemeClr val="tx1"/>
                </a:solidFill>
                <a:latin typeface="Segoe UI Light" panose="020B0502040204020203" pitchFamily="34" charset="0"/>
              </a:rPr>
              <a:t>.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89411" y="4925324"/>
            <a:ext cx="623569" cy="742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476" b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psos</a:t>
            </a:r>
            <a:r>
              <a:rPr lang="sr-Latn-RS" sz="476" b="0" dirty="0">
                <a:solidFill>
                  <a:schemeClr val="bg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rategic Marketing</a:t>
            </a:r>
            <a:endParaRPr lang="en-GB" sz="476" b="0" dirty="0">
              <a:solidFill>
                <a:schemeClr val="bg1"/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83646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>
            <a:grpSpLocks noChangeAspect="1"/>
          </p:cNvGrpSpPr>
          <p:nvPr userDrawn="1"/>
        </p:nvGrpSpPr>
        <p:grpSpPr>
          <a:xfrm>
            <a:off x="440173" y="3361517"/>
            <a:ext cx="153919" cy="91926"/>
            <a:chOff x="5081588" y="3579813"/>
            <a:chExt cx="528637" cy="396876"/>
          </a:xfrm>
          <a:solidFill>
            <a:schemeClr val="bg1"/>
          </a:solidFill>
        </p:grpSpPr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5081588" y="3579813"/>
              <a:ext cx="528637" cy="179388"/>
            </a:xfrm>
            <a:custGeom>
              <a:avLst/>
              <a:gdLst>
                <a:gd name="T0" fmla="*/ 70 w 141"/>
                <a:gd name="T1" fmla="*/ 0 h 48"/>
                <a:gd name="T2" fmla="*/ 0 w 141"/>
                <a:gd name="T3" fmla="*/ 23 h 48"/>
                <a:gd name="T4" fmla="*/ 8 w 141"/>
                <a:gd name="T5" fmla="*/ 47 h 48"/>
                <a:gd name="T6" fmla="*/ 42 w 141"/>
                <a:gd name="T7" fmla="*/ 38 h 48"/>
                <a:gd name="T8" fmla="*/ 43 w 141"/>
                <a:gd name="T9" fmla="*/ 23 h 48"/>
                <a:gd name="T10" fmla="*/ 70 w 141"/>
                <a:gd name="T11" fmla="*/ 19 h 48"/>
                <a:gd name="T12" fmla="*/ 98 w 141"/>
                <a:gd name="T13" fmla="*/ 23 h 48"/>
                <a:gd name="T14" fmla="*/ 98 w 141"/>
                <a:gd name="T15" fmla="*/ 38 h 48"/>
                <a:gd name="T16" fmla="*/ 132 w 141"/>
                <a:gd name="T17" fmla="*/ 47 h 48"/>
                <a:gd name="T18" fmla="*/ 141 w 141"/>
                <a:gd name="T19" fmla="*/ 23 h 48"/>
                <a:gd name="T20" fmla="*/ 70 w 141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" h="48">
                  <a:moveTo>
                    <a:pt x="70" y="0"/>
                  </a:moveTo>
                  <a:cubicBezTo>
                    <a:pt x="29" y="1"/>
                    <a:pt x="9" y="13"/>
                    <a:pt x="0" y="23"/>
                  </a:cubicBezTo>
                  <a:cubicBezTo>
                    <a:pt x="2" y="34"/>
                    <a:pt x="5" y="42"/>
                    <a:pt x="8" y="47"/>
                  </a:cubicBezTo>
                  <a:cubicBezTo>
                    <a:pt x="19" y="48"/>
                    <a:pt x="33" y="44"/>
                    <a:pt x="42" y="38"/>
                  </a:cubicBezTo>
                  <a:cubicBezTo>
                    <a:pt x="43" y="35"/>
                    <a:pt x="43" y="26"/>
                    <a:pt x="43" y="23"/>
                  </a:cubicBezTo>
                  <a:cubicBezTo>
                    <a:pt x="49" y="20"/>
                    <a:pt x="61" y="19"/>
                    <a:pt x="70" y="19"/>
                  </a:cubicBezTo>
                  <a:cubicBezTo>
                    <a:pt x="80" y="19"/>
                    <a:pt x="92" y="20"/>
                    <a:pt x="98" y="23"/>
                  </a:cubicBezTo>
                  <a:cubicBezTo>
                    <a:pt x="97" y="26"/>
                    <a:pt x="97" y="35"/>
                    <a:pt x="98" y="38"/>
                  </a:cubicBezTo>
                  <a:cubicBezTo>
                    <a:pt x="107" y="44"/>
                    <a:pt x="121" y="48"/>
                    <a:pt x="132" y="47"/>
                  </a:cubicBezTo>
                  <a:cubicBezTo>
                    <a:pt x="136" y="42"/>
                    <a:pt x="138" y="34"/>
                    <a:pt x="141" y="23"/>
                  </a:cubicBezTo>
                  <a:cubicBezTo>
                    <a:pt x="132" y="13"/>
                    <a:pt x="112" y="1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24" dirty="0">
                <a:latin typeface="+mn-lt"/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5149850" y="3676651"/>
              <a:ext cx="393700" cy="300038"/>
            </a:xfrm>
            <a:custGeom>
              <a:avLst/>
              <a:gdLst>
                <a:gd name="T0" fmla="*/ 75 w 105"/>
                <a:gd name="T1" fmla="*/ 10 h 80"/>
                <a:gd name="T2" fmla="*/ 75 w 105"/>
                <a:gd name="T3" fmla="*/ 0 h 80"/>
                <a:gd name="T4" fmla="*/ 62 w 105"/>
                <a:gd name="T5" fmla="*/ 0 h 80"/>
                <a:gd name="T6" fmla="*/ 62 w 105"/>
                <a:gd name="T7" fmla="*/ 9 h 80"/>
                <a:gd name="T8" fmla="*/ 42 w 105"/>
                <a:gd name="T9" fmla="*/ 9 h 80"/>
                <a:gd name="T10" fmla="*/ 42 w 105"/>
                <a:gd name="T11" fmla="*/ 0 h 80"/>
                <a:gd name="T12" fmla="*/ 30 w 105"/>
                <a:gd name="T13" fmla="*/ 0 h 80"/>
                <a:gd name="T14" fmla="*/ 30 w 105"/>
                <a:gd name="T15" fmla="*/ 10 h 80"/>
                <a:gd name="T16" fmla="*/ 0 w 105"/>
                <a:gd name="T17" fmla="*/ 45 h 80"/>
                <a:gd name="T18" fmla="*/ 0 w 105"/>
                <a:gd name="T19" fmla="*/ 68 h 80"/>
                <a:gd name="T20" fmla="*/ 52 w 105"/>
                <a:gd name="T21" fmla="*/ 80 h 80"/>
                <a:gd name="T22" fmla="*/ 52 w 105"/>
                <a:gd name="T23" fmla="*/ 80 h 80"/>
                <a:gd name="T24" fmla="*/ 52 w 105"/>
                <a:gd name="T25" fmla="*/ 80 h 80"/>
                <a:gd name="T26" fmla="*/ 52 w 105"/>
                <a:gd name="T27" fmla="*/ 80 h 80"/>
                <a:gd name="T28" fmla="*/ 53 w 105"/>
                <a:gd name="T29" fmla="*/ 80 h 80"/>
                <a:gd name="T30" fmla="*/ 104 w 105"/>
                <a:gd name="T31" fmla="*/ 68 h 80"/>
                <a:gd name="T32" fmla="*/ 105 w 105"/>
                <a:gd name="T33" fmla="*/ 45 h 80"/>
                <a:gd name="T34" fmla="*/ 75 w 105"/>
                <a:gd name="T35" fmla="*/ 10 h 80"/>
                <a:gd name="T36" fmla="*/ 52 w 105"/>
                <a:gd name="T37" fmla="*/ 63 h 80"/>
                <a:gd name="T38" fmla="*/ 32 w 105"/>
                <a:gd name="T39" fmla="*/ 43 h 80"/>
                <a:gd name="T40" fmla="*/ 52 w 105"/>
                <a:gd name="T41" fmla="*/ 23 h 80"/>
                <a:gd name="T42" fmla="*/ 72 w 105"/>
                <a:gd name="T43" fmla="*/ 43 h 80"/>
                <a:gd name="T44" fmla="*/ 52 w 105"/>
                <a:gd name="T45" fmla="*/ 6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80">
                  <a:moveTo>
                    <a:pt x="75" y="10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20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3" y="80"/>
                  </a:cubicBezTo>
                  <a:cubicBezTo>
                    <a:pt x="84" y="80"/>
                    <a:pt x="104" y="68"/>
                    <a:pt x="104" y="68"/>
                  </a:cubicBezTo>
                  <a:cubicBezTo>
                    <a:pt x="105" y="45"/>
                    <a:pt x="105" y="45"/>
                    <a:pt x="105" y="45"/>
                  </a:cubicBezTo>
                  <a:lnTo>
                    <a:pt x="75" y="10"/>
                  </a:lnTo>
                  <a:close/>
                  <a:moveTo>
                    <a:pt x="52" y="63"/>
                  </a:moveTo>
                  <a:cubicBezTo>
                    <a:pt x="41" y="63"/>
                    <a:pt x="32" y="54"/>
                    <a:pt x="32" y="43"/>
                  </a:cubicBezTo>
                  <a:cubicBezTo>
                    <a:pt x="32" y="32"/>
                    <a:pt x="41" y="23"/>
                    <a:pt x="52" y="23"/>
                  </a:cubicBezTo>
                  <a:cubicBezTo>
                    <a:pt x="63" y="23"/>
                    <a:pt x="72" y="32"/>
                    <a:pt x="72" y="43"/>
                  </a:cubicBezTo>
                  <a:cubicBezTo>
                    <a:pt x="72" y="54"/>
                    <a:pt x="63" y="63"/>
                    <a:pt x="52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224" dirty="0">
                <a:latin typeface="+mn-lt"/>
              </a:endParaRPr>
            </a:p>
          </p:txBody>
        </p:sp>
      </p:grp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8738" y="2718699"/>
            <a:ext cx="4041224" cy="1318300"/>
          </a:xfrm>
        </p:spPr>
        <p:txBody>
          <a:bodyPr wrap="square" lIns="82819" tIns="41410" rIns="82819" bIns="41410">
            <a:spAutoFit/>
          </a:bodyPr>
          <a:lstStyle>
            <a:lvl1pPr marL="0" indent="0">
              <a:spcBef>
                <a:spcPts val="0"/>
              </a:spcBef>
              <a:buNone/>
              <a:tabLst>
                <a:tab pos="213637" algn="l"/>
              </a:tabLst>
              <a:defRPr sz="1428" baseline="0">
                <a:solidFill>
                  <a:schemeClr val="bg1"/>
                </a:solidFill>
                <a:latin typeface="+mn-lt"/>
              </a:defRPr>
            </a:lvl1pPr>
            <a:lvl2pPr marL="357719" indent="0">
              <a:buNone/>
              <a:defRPr>
                <a:solidFill>
                  <a:schemeClr val="bg1"/>
                </a:solidFill>
              </a:defRPr>
            </a:lvl2pPr>
            <a:lvl3pPr marL="715436" indent="0">
              <a:buNone/>
              <a:defRPr>
                <a:solidFill>
                  <a:schemeClr val="bg1"/>
                </a:solidFill>
              </a:defRPr>
            </a:lvl3pPr>
            <a:lvl4pPr marL="1073154" indent="0">
              <a:buNone/>
              <a:defRPr>
                <a:solidFill>
                  <a:schemeClr val="bg1"/>
                </a:solidFill>
              </a:defRPr>
            </a:lvl4pPr>
            <a:lvl5pPr marL="143087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r-Latn-RS" dirty="0"/>
              <a:t>Marko Uljarević</a:t>
            </a:r>
            <a:endParaRPr lang="en-US" dirty="0"/>
          </a:p>
          <a:p>
            <a:pPr lvl="0"/>
            <a:r>
              <a:rPr lang="en-US" dirty="0"/>
              <a:t>Social &amp; Opinion Research Director, Ipsos Adria	+381 11 328 4075</a:t>
            </a:r>
            <a:br>
              <a:rPr lang="en-US" dirty="0"/>
            </a:br>
            <a:r>
              <a:rPr lang="en-US" dirty="0"/>
              <a:t>	+381 63 66 80 40 	</a:t>
            </a:r>
            <a:r>
              <a:rPr lang="en-GB" dirty="0"/>
              <a:t>marko.uljarevic@ipsos.com </a:t>
            </a:r>
          </a:p>
        </p:txBody>
      </p:sp>
      <p:sp>
        <p:nvSpPr>
          <p:cNvPr id="159" name="Freeform 7"/>
          <p:cNvSpPr>
            <a:spLocks noChangeAspect="1" noEditPoints="1"/>
          </p:cNvSpPr>
          <p:nvPr userDrawn="1"/>
        </p:nvSpPr>
        <p:spPr bwMode="auto">
          <a:xfrm>
            <a:off x="439540" y="3869812"/>
            <a:ext cx="155187" cy="122444"/>
          </a:xfrm>
          <a:custGeom>
            <a:avLst/>
            <a:gdLst/>
            <a:ahLst/>
            <a:cxnLst>
              <a:cxn ang="0">
                <a:pos x="0" y="169"/>
              </a:cxn>
              <a:cxn ang="0">
                <a:pos x="0" y="76"/>
              </a:cxn>
              <a:cxn ang="0">
                <a:pos x="65" y="125"/>
              </a:cxn>
              <a:cxn ang="0">
                <a:pos x="0" y="169"/>
              </a:cxn>
              <a:cxn ang="0">
                <a:pos x="182" y="179"/>
              </a:cxn>
              <a:cxn ang="0">
                <a:pos x="176" y="182"/>
              </a:cxn>
              <a:cxn ang="0">
                <a:pos x="7" y="182"/>
              </a:cxn>
              <a:cxn ang="0">
                <a:pos x="2" y="179"/>
              </a:cxn>
              <a:cxn ang="0">
                <a:pos x="73" y="131"/>
              </a:cxn>
              <a:cxn ang="0">
                <a:pos x="110" y="131"/>
              </a:cxn>
              <a:cxn ang="0">
                <a:pos x="182" y="179"/>
              </a:cxn>
              <a:cxn ang="0">
                <a:pos x="183" y="76"/>
              </a:cxn>
              <a:cxn ang="0">
                <a:pos x="183" y="169"/>
              </a:cxn>
              <a:cxn ang="0">
                <a:pos x="118" y="125"/>
              </a:cxn>
              <a:cxn ang="0">
                <a:pos x="183" y="76"/>
              </a:cxn>
              <a:cxn ang="0">
                <a:pos x="48" y="65"/>
              </a:cxn>
              <a:cxn ang="0">
                <a:pos x="135" y="65"/>
              </a:cxn>
              <a:cxn ang="0">
                <a:pos x="135" y="72"/>
              </a:cxn>
              <a:cxn ang="0">
                <a:pos x="48" y="72"/>
              </a:cxn>
              <a:cxn ang="0">
                <a:pos x="48" y="65"/>
              </a:cxn>
              <a:cxn ang="0">
                <a:pos x="48" y="78"/>
              </a:cxn>
              <a:cxn ang="0">
                <a:pos x="135" y="78"/>
              </a:cxn>
              <a:cxn ang="0">
                <a:pos x="135" y="85"/>
              </a:cxn>
              <a:cxn ang="0">
                <a:pos x="48" y="85"/>
              </a:cxn>
              <a:cxn ang="0">
                <a:pos x="48" y="78"/>
              </a:cxn>
              <a:cxn ang="0">
                <a:pos x="48" y="91"/>
              </a:cxn>
              <a:cxn ang="0">
                <a:pos x="92" y="91"/>
              </a:cxn>
              <a:cxn ang="0">
                <a:pos x="92" y="98"/>
              </a:cxn>
              <a:cxn ang="0">
                <a:pos x="48" y="98"/>
              </a:cxn>
              <a:cxn ang="0">
                <a:pos x="48" y="91"/>
              </a:cxn>
              <a:cxn ang="0">
                <a:pos x="182" y="65"/>
              </a:cxn>
              <a:cxn ang="0">
                <a:pos x="182" y="65"/>
              </a:cxn>
              <a:cxn ang="0">
                <a:pos x="148" y="91"/>
              </a:cxn>
              <a:cxn ang="0">
                <a:pos x="148" y="54"/>
              </a:cxn>
              <a:cxn ang="0">
                <a:pos x="35" y="54"/>
              </a:cxn>
              <a:cxn ang="0">
                <a:pos x="35" y="91"/>
              </a:cxn>
              <a:cxn ang="0">
                <a:pos x="1" y="65"/>
              </a:cxn>
              <a:cxn ang="0">
                <a:pos x="1" y="65"/>
              </a:cxn>
              <a:cxn ang="0">
                <a:pos x="78" y="8"/>
              </a:cxn>
              <a:cxn ang="0">
                <a:pos x="105" y="8"/>
              </a:cxn>
              <a:cxn ang="0">
                <a:pos x="182" y="65"/>
              </a:cxn>
            </a:cxnLst>
            <a:rect l="0" t="0" r="r" b="b"/>
            <a:pathLst>
              <a:path w="183" h="182">
                <a:moveTo>
                  <a:pt x="0" y="169"/>
                </a:moveTo>
                <a:cubicBezTo>
                  <a:pt x="0" y="76"/>
                  <a:pt x="0" y="76"/>
                  <a:pt x="0" y="76"/>
                </a:cubicBezTo>
                <a:cubicBezTo>
                  <a:pt x="65" y="125"/>
                  <a:pt x="65" y="125"/>
                  <a:pt x="65" y="125"/>
                </a:cubicBezTo>
                <a:cubicBezTo>
                  <a:pt x="0" y="169"/>
                  <a:pt x="0" y="169"/>
                  <a:pt x="0" y="169"/>
                </a:cubicBezTo>
                <a:close/>
                <a:moveTo>
                  <a:pt x="182" y="179"/>
                </a:moveTo>
                <a:cubicBezTo>
                  <a:pt x="180" y="181"/>
                  <a:pt x="178" y="182"/>
                  <a:pt x="176" y="182"/>
                </a:cubicBezTo>
                <a:cubicBezTo>
                  <a:pt x="7" y="182"/>
                  <a:pt x="7" y="182"/>
                  <a:pt x="7" y="182"/>
                </a:cubicBezTo>
                <a:cubicBezTo>
                  <a:pt x="5" y="182"/>
                  <a:pt x="3" y="181"/>
                  <a:pt x="2" y="179"/>
                </a:cubicBezTo>
                <a:cubicBezTo>
                  <a:pt x="73" y="131"/>
                  <a:pt x="73" y="131"/>
                  <a:pt x="73" y="131"/>
                </a:cubicBezTo>
                <a:cubicBezTo>
                  <a:pt x="110" y="131"/>
                  <a:pt x="110" y="131"/>
                  <a:pt x="110" y="131"/>
                </a:cubicBezTo>
                <a:cubicBezTo>
                  <a:pt x="182" y="179"/>
                  <a:pt x="182" y="179"/>
                  <a:pt x="182" y="179"/>
                </a:cubicBezTo>
                <a:close/>
                <a:moveTo>
                  <a:pt x="183" y="76"/>
                </a:moveTo>
                <a:cubicBezTo>
                  <a:pt x="183" y="169"/>
                  <a:pt x="183" y="169"/>
                  <a:pt x="183" y="169"/>
                </a:cubicBezTo>
                <a:cubicBezTo>
                  <a:pt x="118" y="125"/>
                  <a:pt x="118" y="125"/>
                  <a:pt x="118" y="125"/>
                </a:cubicBezTo>
                <a:cubicBezTo>
                  <a:pt x="183" y="76"/>
                  <a:pt x="183" y="76"/>
                  <a:pt x="183" y="76"/>
                </a:cubicBezTo>
                <a:close/>
                <a:moveTo>
                  <a:pt x="48" y="65"/>
                </a:moveTo>
                <a:cubicBezTo>
                  <a:pt x="135" y="65"/>
                  <a:pt x="135" y="65"/>
                  <a:pt x="135" y="65"/>
                </a:cubicBezTo>
                <a:cubicBezTo>
                  <a:pt x="135" y="72"/>
                  <a:pt x="135" y="72"/>
                  <a:pt x="135" y="72"/>
                </a:cubicBezTo>
                <a:cubicBezTo>
                  <a:pt x="48" y="72"/>
                  <a:pt x="48" y="72"/>
                  <a:pt x="48" y="72"/>
                </a:cubicBezTo>
                <a:cubicBezTo>
                  <a:pt x="48" y="65"/>
                  <a:pt x="48" y="65"/>
                  <a:pt x="48" y="65"/>
                </a:cubicBezTo>
                <a:close/>
                <a:moveTo>
                  <a:pt x="48" y="78"/>
                </a:moveTo>
                <a:cubicBezTo>
                  <a:pt x="135" y="78"/>
                  <a:pt x="135" y="78"/>
                  <a:pt x="135" y="78"/>
                </a:cubicBezTo>
                <a:cubicBezTo>
                  <a:pt x="135" y="85"/>
                  <a:pt x="135" y="85"/>
                  <a:pt x="135" y="85"/>
                </a:cubicBezTo>
                <a:cubicBezTo>
                  <a:pt x="48" y="85"/>
                  <a:pt x="48" y="85"/>
                  <a:pt x="48" y="85"/>
                </a:cubicBezTo>
                <a:cubicBezTo>
                  <a:pt x="48" y="78"/>
                  <a:pt x="48" y="78"/>
                  <a:pt x="48" y="78"/>
                </a:cubicBezTo>
                <a:close/>
                <a:moveTo>
                  <a:pt x="48" y="91"/>
                </a:moveTo>
                <a:cubicBezTo>
                  <a:pt x="92" y="91"/>
                  <a:pt x="92" y="91"/>
                  <a:pt x="92" y="91"/>
                </a:cubicBezTo>
                <a:cubicBezTo>
                  <a:pt x="92" y="98"/>
                  <a:pt x="92" y="98"/>
                  <a:pt x="92" y="98"/>
                </a:cubicBezTo>
                <a:cubicBezTo>
                  <a:pt x="48" y="98"/>
                  <a:pt x="48" y="98"/>
                  <a:pt x="48" y="98"/>
                </a:cubicBezTo>
                <a:cubicBezTo>
                  <a:pt x="48" y="91"/>
                  <a:pt x="48" y="91"/>
                  <a:pt x="48" y="91"/>
                </a:cubicBezTo>
                <a:close/>
                <a:moveTo>
                  <a:pt x="182" y="65"/>
                </a:moveTo>
                <a:cubicBezTo>
                  <a:pt x="182" y="65"/>
                  <a:pt x="182" y="65"/>
                  <a:pt x="182" y="65"/>
                </a:cubicBezTo>
                <a:cubicBezTo>
                  <a:pt x="148" y="91"/>
                  <a:pt x="148" y="91"/>
                  <a:pt x="148" y="91"/>
                </a:cubicBezTo>
                <a:cubicBezTo>
                  <a:pt x="148" y="54"/>
                  <a:pt x="148" y="54"/>
                  <a:pt x="148" y="54"/>
                </a:cubicBezTo>
                <a:cubicBezTo>
                  <a:pt x="35" y="54"/>
                  <a:pt x="35" y="54"/>
                  <a:pt x="35" y="54"/>
                </a:cubicBezTo>
                <a:cubicBezTo>
                  <a:pt x="35" y="91"/>
                  <a:pt x="35" y="91"/>
                  <a:pt x="35" y="91"/>
                </a:cubicBezTo>
                <a:cubicBezTo>
                  <a:pt x="1" y="65"/>
                  <a:pt x="1" y="65"/>
                  <a:pt x="1" y="65"/>
                </a:cubicBezTo>
                <a:cubicBezTo>
                  <a:pt x="1" y="65"/>
                  <a:pt x="1" y="65"/>
                  <a:pt x="1" y="65"/>
                </a:cubicBezTo>
                <a:cubicBezTo>
                  <a:pt x="27" y="46"/>
                  <a:pt x="52" y="27"/>
                  <a:pt x="78" y="8"/>
                </a:cubicBezTo>
                <a:cubicBezTo>
                  <a:pt x="89" y="0"/>
                  <a:pt x="95" y="0"/>
                  <a:pt x="105" y="8"/>
                </a:cubicBezTo>
                <a:cubicBezTo>
                  <a:pt x="131" y="27"/>
                  <a:pt x="157" y="46"/>
                  <a:pt x="182" y="6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71548" tIns="35773" rIns="71548" bIns="35773" numCol="1" anchor="t" anchorCtr="0" compatLnSpc="1">
            <a:prstTxWarp prst="textNoShape">
              <a:avLst/>
            </a:prstTxWarp>
          </a:bodyPr>
          <a:lstStyle/>
          <a:p>
            <a:endParaRPr lang="en-GB" sz="1224" dirty="0">
              <a:latin typeface="+mn-lt"/>
            </a:endParaRPr>
          </a:p>
        </p:txBody>
      </p:sp>
      <p:sp>
        <p:nvSpPr>
          <p:cNvPr id="160" name="Freeform 11"/>
          <p:cNvSpPr>
            <a:spLocks noChangeAspect="1" noEditPoints="1"/>
          </p:cNvSpPr>
          <p:nvPr userDrawn="1"/>
        </p:nvSpPr>
        <p:spPr bwMode="auto">
          <a:xfrm>
            <a:off x="477994" y="3575914"/>
            <a:ext cx="78279" cy="122444"/>
          </a:xfrm>
          <a:custGeom>
            <a:avLst/>
            <a:gdLst/>
            <a:ahLst/>
            <a:cxnLst>
              <a:cxn ang="0">
                <a:pos x="0" y="235"/>
              </a:cxn>
              <a:cxn ang="0">
                <a:pos x="10" y="233"/>
              </a:cxn>
              <a:cxn ang="0">
                <a:pos x="7" y="166"/>
              </a:cxn>
              <a:cxn ang="0">
                <a:pos x="0" y="112"/>
              </a:cxn>
              <a:cxn ang="0">
                <a:pos x="10" y="110"/>
              </a:cxn>
              <a:cxn ang="0">
                <a:pos x="96" y="7"/>
              </a:cxn>
              <a:cxn ang="0">
                <a:pos x="396" y="7"/>
              </a:cxn>
              <a:cxn ang="0">
                <a:pos x="488" y="0"/>
              </a:cxn>
              <a:cxn ang="0">
                <a:pos x="493" y="7"/>
              </a:cxn>
              <a:cxn ang="0">
                <a:pos x="591" y="95"/>
              </a:cxn>
              <a:cxn ang="0">
                <a:pos x="506" y="1162"/>
              </a:cxn>
              <a:cxn ang="0">
                <a:pos x="10" y="1075"/>
              </a:cxn>
              <a:cxn ang="0">
                <a:pos x="7" y="378"/>
              </a:cxn>
              <a:cxn ang="0">
                <a:pos x="0" y="339"/>
              </a:cxn>
              <a:cxn ang="0">
                <a:pos x="10" y="336"/>
              </a:cxn>
              <a:cxn ang="0">
                <a:pos x="7" y="276"/>
              </a:cxn>
              <a:cxn ang="0">
                <a:pos x="249" y="1061"/>
              </a:cxn>
              <a:cxn ang="0">
                <a:pos x="303" y="1115"/>
              </a:cxn>
              <a:cxn ang="0">
                <a:pos x="303" y="1115"/>
              </a:cxn>
              <a:cxn ang="0">
                <a:pos x="358" y="1061"/>
              </a:cxn>
              <a:cxn ang="0">
                <a:pos x="303" y="1007"/>
              </a:cxn>
              <a:cxn ang="0">
                <a:pos x="303" y="1007"/>
              </a:cxn>
              <a:cxn ang="0">
                <a:pos x="187" y="108"/>
              </a:cxn>
              <a:cxn ang="0">
                <a:pos x="202" y="124"/>
              </a:cxn>
              <a:cxn ang="0">
                <a:pos x="202" y="124"/>
              </a:cxn>
              <a:cxn ang="0">
                <a:pos x="218" y="108"/>
              </a:cxn>
              <a:cxn ang="0">
                <a:pos x="202" y="93"/>
              </a:cxn>
              <a:cxn ang="0">
                <a:pos x="202" y="93"/>
              </a:cxn>
              <a:cxn ang="0">
                <a:pos x="261" y="93"/>
              </a:cxn>
              <a:cxn ang="0">
                <a:pos x="249" y="109"/>
              </a:cxn>
              <a:cxn ang="0">
                <a:pos x="346" y="124"/>
              </a:cxn>
              <a:cxn ang="0">
                <a:pos x="358" y="109"/>
              </a:cxn>
              <a:cxn ang="0">
                <a:pos x="261" y="93"/>
              </a:cxn>
              <a:cxn ang="0">
                <a:pos x="46" y="960"/>
              </a:cxn>
              <a:cxn ang="0">
                <a:pos x="560" y="201"/>
              </a:cxn>
            </a:cxnLst>
            <a:rect l="0" t="0" r="r" b="b"/>
            <a:pathLst>
              <a:path w="591" h="1162">
                <a:moveTo>
                  <a:pt x="0" y="274"/>
                </a:moveTo>
                <a:cubicBezTo>
                  <a:pt x="0" y="235"/>
                  <a:pt x="0" y="235"/>
                  <a:pt x="0" y="235"/>
                </a:cubicBezTo>
                <a:cubicBezTo>
                  <a:pt x="0" y="234"/>
                  <a:pt x="3" y="233"/>
                  <a:pt x="7" y="233"/>
                </a:cubicBezTo>
                <a:cubicBezTo>
                  <a:pt x="10" y="233"/>
                  <a:pt x="10" y="233"/>
                  <a:pt x="10" y="233"/>
                </a:cubicBezTo>
                <a:cubicBezTo>
                  <a:pt x="10" y="166"/>
                  <a:pt x="10" y="166"/>
                  <a:pt x="10" y="166"/>
                </a:cubicBezTo>
                <a:cubicBezTo>
                  <a:pt x="7" y="166"/>
                  <a:pt x="7" y="166"/>
                  <a:pt x="7" y="166"/>
                </a:cubicBezTo>
                <a:cubicBezTo>
                  <a:pt x="3" y="166"/>
                  <a:pt x="0" y="164"/>
                  <a:pt x="0" y="163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1"/>
                  <a:pt x="3" y="110"/>
                  <a:pt x="7" y="110"/>
                </a:cubicBezTo>
                <a:cubicBezTo>
                  <a:pt x="10" y="110"/>
                  <a:pt x="10" y="110"/>
                  <a:pt x="10" y="110"/>
                </a:cubicBezTo>
                <a:cubicBezTo>
                  <a:pt x="10" y="95"/>
                  <a:pt x="10" y="95"/>
                  <a:pt x="10" y="95"/>
                </a:cubicBezTo>
                <a:cubicBezTo>
                  <a:pt x="10" y="46"/>
                  <a:pt x="49" y="7"/>
                  <a:pt x="96" y="7"/>
                </a:cubicBezTo>
                <a:cubicBezTo>
                  <a:pt x="396" y="7"/>
                  <a:pt x="396" y="7"/>
                  <a:pt x="396" y="7"/>
                </a:cubicBezTo>
                <a:cubicBezTo>
                  <a:pt x="396" y="7"/>
                  <a:pt x="396" y="7"/>
                  <a:pt x="396" y="7"/>
                </a:cubicBezTo>
                <a:cubicBezTo>
                  <a:pt x="396" y="3"/>
                  <a:pt x="399" y="0"/>
                  <a:pt x="401" y="0"/>
                </a:cubicBezTo>
                <a:cubicBezTo>
                  <a:pt x="488" y="0"/>
                  <a:pt x="488" y="0"/>
                  <a:pt x="488" y="0"/>
                </a:cubicBezTo>
                <a:cubicBezTo>
                  <a:pt x="491" y="0"/>
                  <a:pt x="493" y="3"/>
                  <a:pt x="493" y="7"/>
                </a:cubicBezTo>
                <a:cubicBezTo>
                  <a:pt x="493" y="7"/>
                  <a:pt x="493" y="7"/>
                  <a:pt x="493" y="7"/>
                </a:cubicBezTo>
                <a:cubicBezTo>
                  <a:pt x="506" y="7"/>
                  <a:pt x="506" y="7"/>
                  <a:pt x="506" y="7"/>
                </a:cubicBezTo>
                <a:cubicBezTo>
                  <a:pt x="553" y="7"/>
                  <a:pt x="591" y="46"/>
                  <a:pt x="591" y="95"/>
                </a:cubicBezTo>
                <a:cubicBezTo>
                  <a:pt x="591" y="1075"/>
                  <a:pt x="591" y="1075"/>
                  <a:pt x="591" y="1075"/>
                </a:cubicBezTo>
                <a:cubicBezTo>
                  <a:pt x="591" y="1123"/>
                  <a:pt x="553" y="1162"/>
                  <a:pt x="506" y="1162"/>
                </a:cubicBezTo>
                <a:cubicBezTo>
                  <a:pt x="96" y="1162"/>
                  <a:pt x="96" y="1162"/>
                  <a:pt x="96" y="1162"/>
                </a:cubicBezTo>
                <a:cubicBezTo>
                  <a:pt x="49" y="1162"/>
                  <a:pt x="10" y="1123"/>
                  <a:pt x="10" y="1075"/>
                </a:cubicBezTo>
                <a:cubicBezTo>
                  <a:pt x="10" y="378"/>
                  <a:pt x="10" y="378"/>
                  <a:pt x="10" y="378"/>
                </a:cubicBezTo>
                <a:cubicBezTo>
                  <a:pt x="7" y="378"/>
                  <a:pt x="7" y="378"/>
                  <a:pt x="7" y="378"/>
                </a:cubicBezTo>
                <a:cubicBezTo>
                  <a:pt x="3" y="378"/>
                  <a:pt x="0" y="377"/>
                  <a:pt x="0" y="376"/>
                </a:cubicBezTo>
                <a:cubicBezTo>
                  <a:pt x="0" y="339"/>
                  <a:pt x="0" y="339"/>
                  <a:pt x="0" y="339"/>
                </a:cubicBezTo>
                <a:cubicBezTo>
                  <a:pt x="0" y="337"/>
                  <a:pt x="3" y="336"/>
                  <a:pt x="7" y="336"/>
                </a:cubicBezTo>
                <a:cubicBezTo>
                  <a:pt x="10" y="336"/>
                  <a:pt x="10" y="336"/>
                  <a:pt x="10" y="336"/>
                </a:cubicBezTo>
                <a:cubicBezTo>
                  <a:pt x="10" y="276"/>
                  <a:pt x="10" y="276"/>
                  <a:pt x="10" y="276"/>
                </a:cubicBezTo>
                <a:cubicBezTo>
                  <a:pt x="7" y="276"/>
                  <a:pt x="7" y="276"/>
                  <a:pt x="7" y="276"/>
                </a:cubicBezTo>
                <a:cubicBezTo>
                  <a:pt x="3" y="276"/>
                  <a:pt x="0" y="275"/>
                  <a:pt x="0" y="274"/>
                </a:cubicBezTo>
                <a:close/>
                <a:moveTo>
                  <a:pt x="249" y="1061"/>
                </a:moveTo>
                <a:cubicBezTo>
                  <a:pt x="249" y="1061"/>
                  <a:pt x="249" y="1061"/>
                  <a:pt x="249" y="1061"/>
                </a:cubicBezTo>
                <a:cubicBezTo>
                  <a:pt x="249" y="1091"/>
                  <a:pt x="274" y="1115"/>
                  <a:pt x="303" y="1115"/>
                </a:cubicBezTo>
                <a:cubicBezTo>
                  <a:pt x="303" y="1115"/>
                  <a:pt x="303" y="1115"/>
                  <a:pt x="303" y="1115"/>
                </a:cubicBezTo>
                <a:cubicBezTo>
                  <a:pt x="303" y="1115"/>
                  <a:pt x="303" y="1115"/>
                  <a:pt x="303" y="1115"/>
                </a:cubicBezTo>
                <a:cubicBezTo>
                  <a:pt x="333" y="1115"/>
                  <a:pt x="358" y="1091"/>
                  <a:pt x="358" y="1061"/>
                </a:cubicBezTo>
                <a:cubicBezTo>
                  <a:pt x="358" y="1061"/>
                  <a:pt x="358" y="1061"/>
                  <a:pt x="358" y="1061"/>
                </a:cubicBezTo>
                <a:cubicBezTo>
                  <a:pt x="358" y="1061"/>
                  <a:pt x="358" y="1061"/>
                  <a:pt x="358" y="1061"/>
                </a:cubicBezTo>
                <a:cubicBezTo>
                  <a:pt x="358" y="1032"/>
                  <a:pt x="333" y="1007"/>
                  <a:pt x="303" y="1007"/>
                </a:cubicBezTo>
                <a:cubicBezTo>
                  <a:pt x="303" y="1007"/>
                  <a:pt x="303" y="1007"/>
                  <a:pt x="303" y="1007"/>
                </a:cubicBezTo>
                <a:cubicBezTo>
                  <a:pt x="303" y="1007"/>
                  <a:pt x="303" y="1007"/>
                  <a:pt x="303" y="1007"/>
                </a:cubicBezTo>
                <a:cubicBezTo>
                  <a:pt x="274" y="1007"/>
                  <a:pt x="249" y="1032"/>
                  <a:pt x="249" y="1061"/>
                </a:cubicBezTo>
                <a:close/>
                <a:moveTo>
                  <a:pt x="187" y="108"/>
                </a:moveTo>
                <a:cubicBezTo>
                  <a:pt x="187" y="108"/>
                  <a:pt x="187" y="108"/>
                  <a:pt x="187" y="108"/>
                </a:cubicBezTo>
                <a:cubicBezTo>
                  <a:pt x="187" y="117"/>
                  <a:pt x="194" y="124"/>
                  <a:pt x="202" y="124"/>
                </a:cubicBezTo>
                <a:cubicBezTo>
                  <a:pt x="202" y="124"/>
                  <a:pt x="202" y="124"/>
                  <a:pt x="202" y="124"/>
                </a:cubicBezTo>
                <a:cubicBezTo>
                  <a:pt x="202" y="124"/>
                  <a:pt x="202" y="124"/>
                  <a:pt x="202" y="124"/>
                </a:cubicBezTo>
                <a:cubicBezTo>
                  <a:pt x="211" y="124"/>
                  <a:pt x="218" y="117"/>
                  <a:pt x="218" y="108"/>
                </a:cubicBezTo>
                <a:cubicBezTo>
                  <a:pt x="218" y="108"/>
                  <a:pt x="218" y="108"/>
                  <a:pt x="218" y="108"/>
                </a:cubicBezTo>
                <a:cubicBezTo>
                  <a:pt x="218" y="108"/>
                  <a:pt x="218" y="108"/>
                  <a:pt x="218" y="108"/>
                </a:cubicBezTo>
                <a:cubicBezTo>
                  <a:pt x="218" y="101"/>
                  <a:pt x="211" y="93"/>
                  <a:pt x="202" y="93"/>
                </a:cubicBezTo>
                <a:cubicBezTo>
                  <a:pt x="202" y="93"/>
                  <a:pt x="202" y="93"/>
                  <a:pt x="202" y="93"/>
                </a:cubicBezTo>
                <a:cubicBezTo>
                  <a:pt x="202" y="93"/>
                  <a:pt x="202" y="93"/>
                  <a:pt x="202" y="93"/>
                </a:cubicBezTo>
                <a:cubicBezTo>
                  <a:pt x="194" y="93"/>
                  <a:pt x="187" y="101"/>
                  <a:pt x="187" y="108"/>
                </a:cubicBezTo>
                <a:close/>
                <a:moveTo>
                  <a:pt x="261" y="93"/>
                </a:moveTo>
                <a:cubicBezTo>
                  <a:pt x="254" y="93"/>
                  <a:pt x="249" y="100"/>
                  <a:pt x="249" y="109"/>
                </a:cubicBezTo>
                <a:cubicBezTo>
                  <a:pt x="249" y="109"/>
                  <a:pt x="249" y="109"/>
                  <a:pt x="249" y="109"/>
                </a:cubicBezTo>
                <a:cubicBezTo>
                  <a:pt x="249" y="118"/>
                  <a:pt x="254" y="124"/>
                  <a:pt x="261" y="124"/>
                </a:cubicBezTo>
                <a:cubicBezTo>
                  <a:pt x="346" y="124"/>
                  <a:pt x="346" y="124"/>
                  <a:pt x="346" y="124"/>
                </a:cubicBezTo>
                <a:cubicBezTo>
                  <a:pt x="352" y="124"/>
                  <a:pt x="358" y="118"/>
                  <a:pt x="358" y="109"/>
                </a:cubicBezTo>
                <a:cubicBezTo>
                  <a:pt x="358" y="109"/>
                  <a:pt x="358" y="109"/>
                  <a:pt x="358" y="109"/>
                </a:cubicBezTo>
                <a:cubicBezTo>
                  <a:pt x="358" y="100"/>
                  <a:pt x="352" y="93"/>
                  <a:pt x="346" y="93"/>
                </a:cubicBezTo>
                <a:cubicBezTo>
                  <a:pt x="261" y="93"/>
                  <a:pt x="261" y="93"/>
                  <a:pt x="261" y="93"/>
                </a:cubicBezTo>
                <a:close/>
                <a:moveTo>
                  <a:pt x="46" y="201"/>
                </a:moveTo>
                <a:cubicBezTo>
                  <a:pt x="46" y="960"/>
                  <a:pt x="46" y="960"/>
                  <a:pt x="46" y="960"/>
                </a:cubicBezTo>
                <a:cubicBezTo>
                  <a:pt x="560" y="960"/>
                  <a:pt x="560" y="960"/>
                  <a:pt x="560" y="960"/>
                </a:cubicBezTo>
                <a:cubicBezTo>
                  <a:pt x="560" y="201"/>
                  <a:pt x="560" y="201"/>
                  <a:pt x="560" y="201"/>
                </a:cubicBezTo>
                <a:cubicBezTo>
                  <a:pt x="46" y="201"/>
                  <a:pt x="46" y="201"/>
                  <a:pt x="46" y="20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71548" tIns="35773" rIns="71548" bIns="35773" numCol="1" anchor="t" anchorCtr="0" compatLnSpc="1">
            <a:prstTxWarp prst="textNoShape">
              <a:avLst/>
            </a:prstTxWarp>
          </a:bodyPr>
          <a:lstStyle/>
          <a:p>
            <a:endParaRPr lang="en-GB" sz="1224" dirty="0">
              <a:latin typeface="+mn-lt"/>
            </a:endParaRPr>
          </a:p>
        </p:txBody>
      </p:sp>
      <p:sp>
        <p:nvSpPr>
          <p:cNvPr id="29" name="TextBox 28">
            <a:hlinkClick r:id="rId2"/>
          </p:cNvPr>
          <p:cNvSpPr txBox="1"/>
          <p:nvPr userDrawn="1"/>
        </p:nvSpPr>
        <p:spPr>
          <a:xfrm>
            <a:off x="4717251" y="4607480"/>
            <a:ext cx="4041224" cy="226615"/>
          </a:xfrm>
          <a:prstGeom prst="rect">
            <a:avLst/>
          </a:prstGeom>
          <a:noFill/>
        </p:spPr>
        <p:txBody>
          <a:bodyPr wrap="square" lIns="56337" tIns="28169" rIns="56337" bIns="28169" rtlCol="0">
            <a:spAutoFit/>
          </a:bodyPr>
          <a:lstStyle/>
          <a:p>
            <a:pPr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r>
              <a:rPr lang="en-GB" sz="1088" b="1" dirty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www.ipsos.com/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542980" y="4991904"/>
            <a:ext cx="492596" cy="131139"/>
          </a:xfrm>
          <a:prstGeom prst="rect">
            <a:avLst/>
          </a:prstGeom>
          <a:noFill/>
        </p:spPr>
        <p:txBody>
          <a:bodyPr wrap="square" lIns="56337" tIns="28169" rIns="56337" bIns="28169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>
                  <a:lumMod val="75000"/>
                  <a:lumOff val="25000"/>
                </a:schemeClr>
              </a:solidFill>
              <a:latin typeface="Segoe UI Light" panose="020B0502040204020203" pitchFamily="34" charset="0"/>
            </a:endParaRPr>
          </a:p>
        </p:txBody>
      </p:sp>
      <p:sp>
        <p:nvSpPr>
          <p:cNvPr id="23" name="Rectangle 6"/>
          <p:cNvSpPr/>
          <p:nvPr userDrawn="1"/>
        </p:nvSpPr>
        <p:spPr bwMode="gray">
          <a:xfrm>
            <a:off x="0" y="0"/>
            <a:ext cx="9144000" cy="51435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endParaRPr lang="en-GB" sz="1360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42980" y="5040047"/>
            <a:ext cx="492596" cy="742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1877"/>
              </a:spcBef>
              <a:buClr>
                <a:schemeClr val="bg2"/>
              </a:buClr>
            </a:pPr>
            <a:fld id="{08492756-E806-4604-9C5F-A6997CE6540C}" type="slidenum">
              <a:rPr lang="en-GB" sz="47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1877"/>
                </a:spcBef>
                <a:buClr>
                  <a:schemeClr val="bg2"/>
                </a:buClr>
              </a:pPr>
              <a:t>‹#›</a:t>
            </a:fld>
            <a:endParaRPr lang="en-GB" sz="47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 bwMode="gray">
          <a:xfrm>
            <a:off x="386622" y="5020393"/>
            <a:ext cx="3331084" cy="12310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715541"/>
            <a:r>
              <a:rPr lang="en-US" sz="400" dirty="0">
                <a:solidFill>
                  <a:srgbClr val="222223"/>
                </a:solidFill>
              </a:rPr>
              <a:t>Surveys of the health sector in Serbia </a:t>
            </a:r>
            <a:r>
              <a:rPr lang="en-GB" sz="400" dirty="0">
                <a:solidFill>
                  <a:srgbClr val="222223"/>
                </a:solidFill>
              </a:rPr>
              <a:t>| </a:t>
            </a:r>
            <a:r>
              <a:rPr lang="sr-Latn-RS" sz="400" dirty="0">
                <a:solidFill>
                  <a:srgbClr val="222223"/>
                </a:solidFill>
              </a:rPr>
              <a:t>March 2021</a:t>
            </a:r>
            <a:endParaRPr lang="en-GB" sz="400" dirty="0">
              <a:solidFill>
                <a:srgbClr val="222223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057BD83-12FE-416D-A141-12BD8332FB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205" y="4482100"/>
            <a:ext cx="429369" cy="39185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03278200-805C-4BEA-8C48-DC17E07067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669" y="4551549"/>
            <a:ext cx="2281338" cy="33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1837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uides Mark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ame 34"/>
          <p:cNvSpPr/>
          <p:nvPr userDrawn="1"/>
        </p:nvSpPr>
        <p:spPr bwMode="gray">
          <a:xfrm>
            <a:off x="0" y="-114"/>
            <a:ext cx="9144000" cy="5143614"/>
          </a:xfrm>
          <a:prstGeom prst="frame">
            <a:avLst>
              <a:gd name="adj1" fmla="val 238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1548" tIns="35773" rIns="71548" bIns="357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24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8920138" y="172167"/>
            <a:ext cx="54000" cy="54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3974" tIns="71987" rIns="143974" bIns="719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1973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416" y="-114"/>
            <a:ext cx="372515" cy="620919"/>
            <a:chOff x="-612" y="0"/>
            <a:chExt cx="547520" cy="912790"/>
          </a:xfrm>
          <a:solidFill>
            <a:schemeClr val="bg2">
              <a:lumMod val="25000"/>
              <a:lumOff val="75000"/>
            </a:schemeClr>
          </a:solidFill>
        </p:grpSpPr>
        <p:sp>
          <p:nvSpPr>
            <p:cNvPr id="8" name="Rectangle 7"/>
            <p:cNvSpPr/>
            <p:nvPr userDrawn="1"/>
          </p:nvSpPr>
          <p:spPr bwMode="gray">
            <a:xfrm>
              <a:off x="-612" y="0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78842" y="181927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366908" y="363538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78842" y="543295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-612" y="732790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 userDrawn="1"/>
        </p:nvGrpSpPr>
        <p:grpSpPr>
          <a:xfrm>
            <a:off x="8787734" y="4527296"/>
            <a:ext cx="363705" cy="617150"/>
            <a:chOff x="12904263" y="6649864"/>
            <a:chExt cx="534571" cy="907248"/>
          </a:xfrm>
          <a:solidFill>
            <a:schemeClr val="bg2">
              <a:lumMod val="25000"/>
              <a:lumOff val="75000"/>
            </a:schemeClr>
          </a:solidFill>
        </p:grpSpPr>
        <p:sp>
          <p:nvSpPr>
            <p:cNvPr id="32" name="Rectangle 31"/>
            <p:cNvSpPr/>
            <p:nvPr userDrawn="1"/>
          </p:nvSpPr>
          <p:spPr bwMode="gray">
            <a:xfrm flipH="1">
              <a:off x="13258834" y="6649864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gray">
            <a:xfrm flipH="1">
              <a:off x="13078198" y="6837333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gray">
            <a:xfrm flipH="1">
              <a:off x="12904263" y="7013402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 flipH="1">
              <a:off x="13078198" y="7192961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 flipH="1">
              <a:off x="13258834" y="7377112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/>
          <p:cNvGrpSpPr/>
          <p:nvPr userDrawn="1"/>
        </p:nvGrpSpPr>
        <p:grpSpPr>
          <a:xfrm>
            <a:off x="-416" y="4523527"/>
            <a:ext cx="372515" cy="620919"/>
            <a:chOff x="-612" y="0"/>
            <a:chExt cx="547520" cy="912790"/>
          </a:xfrm>
          <a:solidFill>
            <a:schemeClr val="bg2">
              <a:lumMod val="25000"/>
              <a:lumOff val="75000"/>
            </a:schemeClr>
          </a:solidFill>
        </p:grpSpPr>
        <p:sp>
          <p:nvSpPr>
            <p:cNvPr id="39" name="Rectangle 38"/>
            <p:cNvSpPr/>
            <p:nvPr userDrawn="1"/>
          </p:nvSpPr>
          <p:spPr bwMode="gray">
            <a:xfrm>
              <a:off x="-612" y="0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175627" y="181927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366908" y="363538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175627" y="543295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-612" y="732790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Group 43"/>
          <p:cNvGrpSpPr/>
          <p:nvPr userDrawn="1"/>
        </p:nvGrpSpPr>
        <p:grpSpPr>
          <a:xfrm>
            <a:off x="8778677" y="-114"/>
            <a:ext cx="368280" cy="619981"/>
            <a:chOff x="12897539" y="6649864"/>
            <a:chExt cx="541295" cy="911410"/>
          </a:xfrm>
          <a:solidFill>
            <a:schemeClr val="bg2">
              <a:lumMod val="25000"/>
              <a:lumOff val="75000"/>
            </a:schemeClr>
          </a:solidFill>
        </p:grpSpPr>
        <p:sp>
          <p:nvSpPr>
            <p:cNvPr id="45" name="Rectangle 44"/>
            <p:cNvSpPr/>
            <p:nvPr userDrawn="1"/>
          </p:nvSpPr>
          <p:spPr bwMode="gray">
            <a:xfrm flipH="1">
              <a:off x="13258834" y="6649864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 flipH="1">
              <a:off x="13078198" y="6830609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6"/>
            <p:cNvSpPr/>
            <p:nvPr userDrawn="1"/>
          </p:nvSpPr>
          <p:spPr bwMode="gray">
            <a:xfrm flipH="1">
              <a:off x="12897539" y="7013402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 flipH="1">
              <a:off x="13078198" y="7192961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/>
            <p:cNvSpPr/>
            <p:nvPr userDrawn="1"/>
          </p:nvSpPr>
          <p:spPr bwMode="gray">
            <a:xfrm flipH="1">
              <a:off x="13248895" y="7381274"/>
              <a:ext cx="180000" cy="1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1632"/>
                </a:spcBef>
                <a:buClr>
                  <a:schemeClr val="bg2"/>
                </a:buClr>
              </a:pPr>
              <a:endParaRPr lang="en-GB" sz="1360" dirty="0">
                <a:solidFill>
                  <a:schemeClr val="bg1"/>
                </a:solidFill>
              </a:endParaRPr>
            </a:p>
          </p:txBody>
        </p:sp>
      </p:grpSp>
      <p:sp>
        <p:nvSpPr>
          <p:cNvPr id="5" name="Rectangle 4"/>
          <p:cNvSpPr/>
          <p:nvPr userDrawn="1"/>
        </p:nvSpPr>
        <p:spPr bwMode="gray">
          <a:xfrm>
            <a:off x="372099" y="620805"/>
            <a:ext cx="2599215" cy="43208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1088" dirty="0">
                <a:solidFill>
                  <a:schemeClr val="bg1"/>
                </a:solidFill>
              </a:rPr>
              <a:t>Main heading</a:t>
            </a:r>
          </a:p>
        </p:txBody>
      </p:sp>
      <p:sp>
        <p:nvSpPr>
          <p:cNvPr id="52" name="Rectangle 51"/>
          <p:cNvSpPr/>
          <p:nvPr userDrawn="1"/>
        </p:nvSpPr>
        <p:spPr bwMode="gray">
          <a:xfrm>
            <a:off x="369282" y="1186075"/>
            <a:ext cx="2599215" cy="32101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952" dirty="0">
                <a:solidFill>
                  <a:schemeClr val="bg1"/>
                </a:solidFill>
              </a:rPr>
              <a:t>3 box layout</a:t>
            </a:r>
          </a:p>
        </p:txBody>
      </p:sp>
      <p:sp>
        <p:nvSpPr>
          <p:cNvPr id="53" name="Rectangle 52"/>
          <p:cNvSpPr/>
          <p:nvPr userDrawn="1"/>
        </p:nvSpPr>
        <p:spPr bwMode="gray">
          <a:xfrm>
            <a:off x="3263910" y="1186075"/>
            <a:ext cx="2599215" cy="32101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952" dirty="0">
                <a:solidFill>
                  <a:schemeClr val="bg1"/>
                </a:solidFill>
              </a:rPr>
              <a:t>3 box layout</a:t>
            </a:r>
          </a:p>
        </p:txBody>
      </p:sp>
      <p:sp>
        <p:nvSpPr>
          <p:cNvPr id="54" name="Rectangle 53"/>
          <p:cNvSpPr/>
          <p:nvPr userDrawn="1"/>
        </p:nvSpPr>
        <p:spPr bwMode="gray">
          <a:xfrm>
            <a:off x="6169869" y="1186075"/>
            <a:ext cx="2599215" cy="321014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952" dirty="0">
                <a:solidFill>
                  <a:schemeClr val="bg1"/>
                </a:solidFill>
              </a:rPr>
              <a:t>3 box layout</a:t>
            </a:r>
          </a:p>
        </p:txBody>
      </p:sp>
      <p:sp>
        <p:nvSpPr>
          <p:cNvPr id="55" name="Rectangle 54"/>
          <p:cNvSpPr/>
          <p:nvPr userDrawn="1"/>
        </p:nvSpPr>
        <p:spPr bwMode="gray">
          <a:xfrm>
            <a:off x="375870" y="371279"/>
            <a:ext cx="4043838" cy="122444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816" dirty="0">
                <a:solidFill>
                  <a:schemeClr val="bg1"/>
                </a:solidFill>
              </a:rPr>
              <a:t>two</a:t>
            </a:r>
            <a:r>
              <a:rPr lang="en-GB" sz="816" baseline="0" dirty="0">
                <a:solidFill>
                  <a:schemeClr val="bg1"/>
                </a:solidFill>
              </a:rPr>
              <a:t> box guide</a:t>
            </a:r>
            <a:endParaRPr lang="en-GB" sz="816" dirty="0">
              <a:solidFill>
                <a:schemeClr val="bg1"/>
              </a:solidFill>
            </a:endParaRPr>
          </a:p>
        </p:txBody>
      </p:sp>
      <p:sp>
        <p:nvSpPr>
          <p:cNvPr id="56" name="Rectangle 55"/>
          <p:cNvSpPr/>
          <p:nvPr userDrawn="1"/>
        </p:nvSpPr>
        <p:spPr bwMode="gray">
          <a:xfrm>
            <a:off x="4726971" y="374277"/>
            <a:ext cx="4043838" cy="122444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816" dirty="0">
                <a:solidFill>
                  <a:schemeClr val="bg1"/>
                </a:solidFill>
              </a:rPr>
              <a:t>two box guid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45165" y="110071"/>
            <a:ext cx="8405999" cy="240406"/>
          </a:xfrm>
          <a:prstGeom prst="rect">
            <a:avLst/>
          </a:prstGeom>
          <a:noFill/>
        </p:spPr>
        <p:txBody>
          <a:bodyPr wrap="square" lIns="48978" tIns="24489" rIns="48978" bIns="24489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1224" dirty="0">
                <a:solidFill>
                  <a:schemeClr val="bg1"/>
                </a:solidFill>
              </a:rPr>
              <a:t>DRAWING GUIDES</a:t>
            </a:r>
          </a:p>
        </p:txBody>
      </p:sp>
      <p:sp>
        <p:nvSpPr>
          <p:cNvPr id="57" name="Rectangle 56"/>
          <p:cNvSpPr/>
          <p:nvPr userDrawn="1"/>
        </p:nvSpPr>
        <p:spPr bwMode="gray">
          <a:xfrm>
            <a:off x="383736" y="4525531"/>
            <a:ext cx="5479388" cy="122444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748" dirty="0">
                <a:solidFill>
                  <a:schemeClr val="bg1"/>
                </a:solidFill>
              </a:rPr>
              <a:t>Base</a:t>
            </a:r>
          </a:p>
        </p:txBody>
      </p:sp>
      <p:sp>
        <p:nvSpPr>
          <p:cNvPr id="58" name="Rectangle 57"/>
          <p:cNvSpPr/>
          <p:nvPr userDrawn="1"/>
        </p:nvSpPr>
        <p:spPr bwMode="gray">
          <a:xfrm>
            <a:off x="6172686" y="4525531"/>
            <a:ext cx="2605990" cy="122444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955" tIns="48978" rIns="97955" bIns="489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1632"/>
              </a:spcBef>
              <a:buClr>
                <a:schemeClr val="bg2"/>
              </a:buClr>
            </a:pPr>
            <a:r>
              <a:rPr lang="en-GB" sz="714" dirty="0">
                <a:solidFill>
                  <a:schemeClr val="bg1"/>
                </a:solidFill>
              </a:rPr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0261482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122052" y="122032"/>
            <a:ext cx="8903140" cy="4896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641" tIns="56319" rIns="112641" bIns="563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endParaRPr lang="en-GB" sz="2200" dirty="0">
              <a:solidFill>
                <a:prstClr val="white"/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747293" y="5033569"/>
            <a:ext cx="289891" cy="936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715269">
              <a:lnSpc>
                <a:spcPct val="110000"/>
              </a:lnSpc>
              <a:spcBef>
                <a:spcPts val="1878"/>
              </a:spcBef>
              <a:buClr>
                <a:srgbClr val="222223"/>
              </a:buClr>
            </a:pPr>
            <a:fld id="{08492756-E806-4604-9C5F-A6997CE6540C}" type="slidenum">
              <a:rPr lang="en-GB" sz="600" smtClean="0">
                <a:solidFill>
                  <a:prstClr val="white"/>
                </a:solidFill>
                <a:latin typeface="Segoe UI Light" panose="020B0502040204020203" pitchFamily="34" charset="0"/>
              </a:rPr>
              <a:pPr algn="r" defTabSz="715269">
                <a:lnSpc>
                  <a:spcPct val="110000"/>
                </a:lnSpc>
                <a:spcBef>
                  <a:spcPts val="1878"/>
                </a:spcBef>
                <a:buClr>
                  <a:srgbClr val="222223"/>
                </a:buClr>
              </a:pPr>
              <a:t>‹#›</a:t>
            </a:fld>
            <a:endParaRPr lang="en-GB" sz="600" dirty="0">
              <a:solidFill>
                <a:prstClr val="white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4342" y="507667"/>
            <a:ext cx="2512215" cy="408516"/>
          </a:xfrm>
          <a:prstGeom prst="rect">
            <a:avLst/>
          </a:prstGeom>
          <a:solidFill>
            <a:schemeClr val="accent3"/>
          </a:solidFill>
        </p:spPr>
        <p:txBody>
          <a:bodyPr wrap="none" lIns="56319" tIns="48965" rIns="56319" bIns="0" rtlCol="0" anchor="ctr">
            <a:spAutoFit/>
          </a:bodyPr>
          <a:lstStyle/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4337" y="1184471"/>
            <a:ext cx="8372950" cy="3329974"/>
          </a:xfrm>
          <a:prstGeom prst="rect">
            <a:avLst/>
          </a:prstGeom>
        </p:spPr>
        <p:txBody>
          <a:bodyPr vert="horz" lIns="0" tIns="28160" rIns="0" bIns="2816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677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5" r:id="rId2"/>
    <p:sldLayoutId id="2147483792" r:id="rId3"/>
    <p:sldLayoutId id="2147484147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4" r:id="rId10"/>
    <p:sldLayoutId id="2147484203" r:id="rId11"/>
  </p:sldLayoutIdLst>
  <p:transition>
    <p:fade/>
  </p:transition>
  <p:hf hdr="0" ftr="0" dt="0"/>
  <p:txStyles>
    <p:titleStyle>
      <a:lvl1pPr algn="ctr" defTabSz="715269" rtl="0" eaLnBrk="1" latinLnBrk="0" hangingPunct="1">
        <a:lnSpc>
          <a:spcPts val="2789"/>
        </a:lnSpc>
        <a:spcBef>
          <a:spcPts val="0"/>
        </a:spcBef>
        <a:buNone/>
        <a:defRPr lang="en-GB" sz="2400" b="1" kern="1200" smtClean="0">
          <a:solidFill>
            <a:schemeClr val="bg1"/>
          </a:solidFill>
          <a:latin typeface="+mj-lt"/>
          <a:ea typeface="+mn-ea"/>
          <a:cs typeface="+mn-cs"/>
        </a:defRPr>
      </a:lvl1pPr>
    </p:titleStyle>
    <p:bodyStyle>
      <a:lvl1pPr marL="213587" indent="-213587" algn="l" defTabSz="715269" rtl="0" eaLnBrk="1" latinLnBrk="0" hangingPunct="1">
        <a:lnSpc>
          <a:spcPct val="110000"/>
        </a:lnSpc>
        <a:spcBef>
          <a:spcPts val="408"/>
        </a:spcBef>
        <a:spcAft>
          <a:spcPts val="408"/>
        </a:spcAft>
        <a:buClr>
          <a:schemeClr val="bg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81156" indent="-223521" algn="l" defTabSz="715269" rtl="0" eaLnBrk="1" latinLnBrk="0" hangingPunct="1">
        <a:lnSpc>
          <a:spcPct val="110000"/>
        </a:lnSpc>
        <a:spcBef>
          <a:spcPts val="408"/>
        </a:spcBef>
        <a:spcAft>
          <a:spcPts val="408"/>
        </a:spcAft>
        <a:buClr>
          <a:schemeClr val="bg2"/>
        </a:buClr>
        <a:buFont typeface="Geomanist Light" pitchFamily="50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4087" indent="-178817" algn="l" defTabSz="715269" rtl="0" eaLnBrk="1" latinLnBrk="0" hangingPunct="1">
        <a:lnSpc>
          <a:spcPct val="110000"/>
        </a:lnSpc>
        <a:spcBef>
          <a:spcPts val="408"/>
        </a:spcBef>
        <a:spcAft>
          <a:spcPts val="408"/>
        </a:spcAft>
        <a:buClr>
          <a:schemeClr val="bg2"/>
        </a:buClr>
        <a:buFont typeface="Geomanist Light" pitchFamily="50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51722" indent="-178817" algn="l" defTabSz="715269" rtl="0" eaLnBrk="1" latinLnBrk="0" hangingPunct="1">
        <a:lnSpc>
          <a:spcPct val="110000"/>
        </a:lnSpc>
        <a:spcBef>
          <a:spcPts val="408"/>
        </a:spcBef>
        <a:spcAft>
          <a:spcPts val="408"/>
        </a:spcAft>
        <a:buClr>
          <a:schemeClr val="bg2"/>
        </a:buClr>
        <a:buFont typeface="Geomanist Light" pitchFamily="50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356" indent="-178817" algn="l" defTabSz="715269" rtl="0" eaLnBrk="1" latinLnBrk="0" hangingPunct="1">
        <a:lnSpc>
          <a:spcPct val="110000"/>
        </a:lnSpc>
        <a:spcBef>
          <a:spcPts val="408"/>
        </a:spcBef>
        <a:spcAft>
          <a:spcPts val="408"/>
        </a:spcAft>
        <a:buClr>
          <a:schemeClr val="bg2"/>
        </a:buClr>
        <a:buFont typeface="Geomanist Light" pitchFamily="50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966991" indent="-178817" algn="l" defTabSz="715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4626" indent="-178817" algn="l" defTabSz="715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2260" indent="-178817" algn="l" defTabSz="715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39895" indent="-178817" algn="l" defTabSz="715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635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269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2904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0539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8174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5808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3443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1078" algn="l" defTabSz="71526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376" y="643468"/>
            <a:ext cx="8654595" cy="4615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7650" y="1388443"/>
            <a:ext cx="8651621" cy="2643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 descr="IPSOS_GAMECHANGERS_blue.pn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671" b="-1"/>
          <a:stretch/>
        </p:blipFill>
        <p:spPr>
          <a:xfrm>
            <a:off x="8526719" y="98875"/>
            <a:ext cx="377327" cy="35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92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202" r:id="rId2"/>
  </p:sldLayoutIdLst>
  <p:hf hdr="0"/>
  <p:txStyles>
    <p:titleStyle>
      <a:lvl1pPr algn="l" defTabSz="924282" rtl="0" eaLnBrk="1" latinLnBrk="0" hangingPunct="1">
        <a:lnSpc>
          <a:spcPct val="90000"/>
        </a:lnSpc>
        <a:spcBef>
          <a:spcPts val="408"/>
        </a:spcBef>
        <a:buNone/>
        <a:tabLst/>
        <a:defRPr sz="33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3240" indent="0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6802" indent="-186802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11" indent="-191121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606834" indent="-176004" algn="l" defTabSz="924282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SzPct val="85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41775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0391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66056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28198" indent="-231070" algn="l" defTabSz="9242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2140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428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6422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56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0704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7284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3498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97126" algn="l" defTabSz="9242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532" imgH="530" progId="TCLayout.ActiveDocument.1">
                  <p:embed/>
                </p:oleObj>
              </mc:Choice>
              <mc:Fallback>
                <p:oleObj name="Diapositive think-cell" r:id="rId8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590" y="287112"/>
            <a:ext cx="8538210" cy="362407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12497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9" r:id="rId2"/>
    <p:sldLayoutId id="2147484200" r:id="rId3"/>
    <p:sldLayoutId id="2147484201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950" b="1" kern="1200" cap="none" spc="0" baseline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64294" indent="-64294" algn="l" defTabSz="685800" rtl="0" eaLnBrk="1" latinLnBrk="0" hangingPunct="1">
        <a:lnSpc>
          <a:spcPct val="100000"/>
        </a:lnSpc>
        <a:spcBef>
          <a:spcPts val="1350"/>
        </a:spcBef>
        <a:buSzPct val="50000"/>
        <a:buFont typeface="HelveticaNeueLT Std Lt Cn" panose="020B0406020202030204" pitchFamily="34" charset="0"/>
        <a:buChar char=" "/>
        <a:defRPr sz="1200" b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335756" indent="-235744" algn="l" defTabSz="685800" rtl="0" eaLnBrk="1" latinLnBrk="0" hangingPunct="1">
        <a:lnSpc>
          <a:spcPct val="100000"/>
        </a:lnSpc>
        <a:spcBef>
          <a:spcPts val="450"/>
        </a:spcBef>
        <a:buClrTx/>
        <a:buSzPct val="100000"/>
        <a:buFont typeface="Arial" panose="020B0604020202020204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35781" indent="-128588" algn="l" defTabSz="68580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‒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40569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bg2"/>
          </a:solidFill>
          <a:latin typeface="+mn-lt"/>
          <a:ea typeface="+mn-ea"/>
          <a:cs typeface="+mn-cs"/>
        </a:defRPr>
      </a:lvl4pPr>
      <a:lvl5pPr marL="946547" indent="-171450" algn="l" defTabSz="685800" rtl="0" eaLnBrk="1" latinLnBrk="0" hangingPunct="1">
        <a:lnSpc>
          <a:spcPct val="90000"/>
        </a:lnSpc>
        <a:spcBef>
          <a:spcPts val="375"/>
        </a:spcBef>
        <a:buFont typeface="HelveticaNeueLT Std Lt Cn" panose="020B0406020202030204" pitchFamily="34" charset="0"/>
        <a:buChar char="−"/>
        <a:defRPr sz="788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7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7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diagramData" Target="../diagrams/data1.xml"/><Relationship Id="rId5" Type="http://schemas.openxmlformats.org/officeDocument/2006/relationships/image" Target="../media/image9.png"/><Relationship Id="rId10" Type="http://schemas.microsoft.com/office/2007/relationships/diagramDrawing" Target="../diagrams/drawing1.xml"/><Relationship Id="rId4" Type="http://schemas.openxmlformats.org/officeDocument/2006/relationships/image" Target="../media/image8.jpeg"/><Relationship Id="rId9" Type="http://schemas.openxmlformats.org/officeDocument/2006/relationships/diagramColors" Target="../diagrams/colors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jp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QuickStyle" Target="../diagrams/quickStyle3.xml"/><Relationship Id="rId3" Type="http://schemas.openxmlformats.org/officeDocument/2006/relationships/image" Target="../media/image7.png"/><Relationship Id="rId7" Type="http://schemas.openxmlformats.org/officeDocument/2006/relationships/diagramLayout" Target="../diagrams/layout2.xml"/><Relationship Id="rId12" Type="http://schemas.openxmlformats.org/officeDocument/2006/relationships/diagramLayout" Target="../diagrams/layou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diagramData" Target="../diagrams/data2.xml"/><Relationship Id="rId11" Type="http://schemas.openxmlformats.org/officeDocument/2006/relationships/diagramData" Target="../diagrams/data3.xml"/><Relationship Id="rId5" Type="http://schemas.openxmlformats.org/officeDocument/2006/relationships/image" Target="../media/image9.png"/><Relationship Id="rId15" Type="http://schemas.microsoft.com/office/2007/relationships/diagramDrawing" Target="../diagrams/drawing3.xml"/><Relationship Id="rId10" Type="http://schemas.microsoft.com/office/2007/relationships/diagramDrawing" Target="../diagrams/drawing2.xml"/><Relationship Id="rId4" Type="http://schemas.openxmlformats.org/officeDocument/2006/relationships/image" Target="../media/image8.jpeg"/><Relationship Id="rId9" Type="http://schemas.openxmlformats.org/officeDocument/2006/relationships/diagramColors" Target="../diagrams/colors2.xml"/><Relationship Id="rId14" Type="http://schemas.openxmlformats.org/officeDocument/2006/relationships/diagramColors" Target="../diagrams/colors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0" y="4594860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1292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553153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7C0FA1-BC6F-4CD3-9CDE-BE60F016A145}"/>
              </a:ext>
            </a:extLst>
          </p:cNvPr>
          <p:cNvSpPr txBox="1"/>
          <p:nvPr/>
        </p:nvSpPr>
        <p:spPr>
          <a:xfrm>
            <a:off x="1295400" y="1155169"/>
            <a:ext cx="632460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900"/>
              </a:spcAft>
            </a:pPr>
            <a:r>
              <a:rPr lang="sr-Latn-RS" sz="3000" b="1" dirty="0">
                <a:solidFill>
                  <a:srgbClr val="92D050"/>
                </a:solidFill>
                <a:latin typeface="Candara" panose="020E0502030303020204" pitchFamily="34" charset="0"/>
                <a:ea typeface="Times New Roman" panose="02020603050405020304" pitchFamily="18" charset="0"/>
              </a:rPr>
              <a:t>ZELENE JAVNE NABAVKE U SRBIJI – STANJE i PERSPEKTIVE </a:t>
            </a:r>
            <a:endParaRPr lang="en-US" sz="2100" dirty="0">
              <a:solidFill>
                <a:srgbClr val="92D05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>
              <a:spcAft>
                <a:spcPts val="900"/>
              </a:spcAft>
            </a:pPr>
            <a:endParaRPr lang="en-US" sz="13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7" name="officeArt object" descr="A picture containing clipart&#10;&#10;Description automatically generated">
            <a:extLst>
              <a:ext uri="{FF2B5EF4-FFF2-40B4-BE49-F238E27FC236}">
                <a16:creationId xmlns:a16="http://schemas.microsoft.com/office/drawing/2014/main" id="{0350C06A-6EFA-4595-9688-2BFD21C1F4A0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1428750" y="2266950"/>
            <a:ext cx="6191250" cy="216146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3204297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131CBF6-6820-400F-99FB-CB85350AC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100" y="1047750"/>
            <a:ext cx="8003800" cy="913770"/>
          </a:xfrm>
        </p:spPr>
        <p:txBody>
          <a:bodyPr wrap="square" anchor="ctr">
            <a:normAutofit/>
          </a:bodyPr>
          <a:lstStyle/>
          <a:p>
            <a:pPr algn="l"/>
            <a:r>
              <a:rPr lang="sr-Latn-RS" sz="2900" dirty="0"/>
              <a:t>VAŽNOST EKOLOŠKIH KRITERIJUM – </a:t>
            </a:r>
            <a:r>
              <a:rPr lang="sr-Latn-RS" sz="2900" i="1" dirty="0"/>
              <a:t>Ponuđači i Građani</a:t>
            </a:r>
            <a:endParaRPr lang="en-US" sz="2900" i="1" dirty="0"/>
          </a:p>
        </p:txBody>
      </p:sp>
      <p:pic>
        <p:nvPicPr>
          <p:cNvPr id="15" name="Picture Placeholder 14" descr="A picture containing smoke, outdoor, coming, nature&#10;&#10;Description automatically generated">
            <a:extLst>
              <a:ext uri="{FF2B5EF4-FFF2-40B4-BE49-F238E27FC236}">
                <a16:creationId xmlns:a16="http://schemas.microsoft.com/office/drawing/2014/main" id="{F666EFDC-EC86-4F89-9C9C-F20E25766F5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37" b="3453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2859789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8C1457-C3FB-4FDA-BCB6-F86BEA66D4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3788" y="4770137"/>
            <a:ext cx="6197011" cy="276999"/>
          </a:xfrm>
          <a:noFill/>
        </p:spPr>
        <p:txBody>
          <a:bodyPr vert="horz" wrap="square" lIns="48965" tIns="0" rIns="48965" bIns="0" rtlCol="0" anchor="ctr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Kada </a:t>
            </a:r>
            <a:r>
              <a:rPr lang="en-US" sz="900" b="0" i="1" dirty="0" err="1">
                <a:solidFill>
                  <a:schemeClr val="tx1"/>
                </a:solidFill>
              </a:rPr>
              <a:t>su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pitanj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javn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bavke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Srbiji</a:t>
            </a:r>
            <a:r>
              <a:rPr lang="en-US" sz="900" b="0" i="1" dirty="0">
                <a:solidFill>
                  <a:schemeClr val="tx1"/>
                </a:solidFill>
              </a:rPr>
              <a:t>, u </a:t>
            </a:r>
            <a:r>
              <a:rPr lang="en-US" sz="900" b="0" i="1" dirty="0" err="1">
                <a:solidFill>
                  <a:schemeClr val="tx1"/>
                </a:solidFill>
              </a:rPr>
              <a:t>kojoj</a:t>
            </a:r>
            <a:r>
              <a:rPr lang="en-US" sz="900" b="0" i="1" dirty="0">
                <a:solidFill>
                  <a:schemeClr val="tx1"/>
                </a:solidFill>
              </a:rPr>
              <a:t> meri </a:t>
            </a:r>
            <a:r>
              <a:rPr lang="en-US" sz="900" b="0" i="1" dirty="0" err="1">
                <a:solidFill>
                  <a:schemeClr val="tx1"/>
                </a:solidFill>
              </a:rPr>
              <a:t>smatrate</a:t>
            </a:r>
            <a:r>
              <a:rPr lang="en-US" sz="900" b="0" i="1" dirty="0">
                <a:solidFill>
                  <a:schemeClr val="tx1"/>
                </a:solidFill>
              </a:rPr>
              <a:t> da </a:t>
            </a:r>
            <a:r>
              <a:rPr lang="en-US" sz="900" b="0" i="1" dirty="0" err="1">
                <a:solidFill>
                  <a:schemeClr val="tx1"/>
                </a:solidFill>
              </a:rPr>
              <a:t>s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sledeć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kriterijum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važni</a:t>
            </a:r>
            <a:r>
              <a:rPr lang="en-US" sz="900" b="0" i="1" dirty="0">
                <a:solidFill>
                  <a:schemeClr val="tx1"/>
                </a:solidFill>
              </a:rPr>
              <a:t> za </a:t>
            </a:r>
            <a:r>
              <a:rPr lang="en-US" sz="900" b="0" i="1" dirty="0" err="1">
                <a:solidFill>
                  <a:schemeClr val="tx1"/>
                </a:solidFill>
              </a:rPr>
              <a:t>nabavk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dobar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il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sluga</a:t>
            </a:r>
            <a:r>
              <a:rPr lang="en-US" sz="900" b="0" i="1" dirty="0">
                <a:solidFill>
                  <a:schemeClr val="tx1"/>
                </a:solidFill>
              </a:rPr>
              <a:t>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Molimo </a:t>
            </a:r>
            <a:r>
              <a:rPr lang="en-US" sz="900" b="0" i="1" dirty="0" err="1">
                <a:solidFill>
                  <a:schemeClr val="tx1"/>
                </a:solidFill>
              </a:rPr>
              <a:t>koristi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ocene</a:t>
            </a:r>
            <a:r>
              <a:rPr lang="en-US" sz="900" b="0" i="1" dirty="0">
                <a:solidFill>
                  <a:schemeClr val="tx1"/>
                </a:solidFill>
              </a:rPr>
              <a:t> od 1 do 4, </a:t>
            </a:r>
            <a:r>
              <a:rPr lang="en-US" sz="900" b="0" i="1" dirty="0" err="1">
                <a:solidFill>
                  <a:schemeClr val="tx1"/>
                </a:solidFill>
              </a:rPr>
              <a:t>gde</a:t>
            </a:r>
            <a:r>
              <a:rPr lang="en-US" sz="900" b="0" i="1" dirty="0">
                <a:solidFill>
                  <a:schemeClr val="tx1"/>
                </a:solidFill>
              </a:rPr>
              <a:t> 1 </a:t>
            </a:r>
            <a:r>
              <a:rPr lang="en-US" sz="900" b="0" i="1" dirty="0" err="1">
                <a:solidFill>
                  <a:schemeClr val="tx1"/>
                </a:solidFill>
              </a:rPr>
              <a:t>znači</a:t>
            </a:r>
            <a:r>
              <a:rPr lang="en-US" sz="900" b="0" i="1" dirty="0">
                <a:solidFill>
                  <a:schemeClr val="tx1"/>
                </a:solidFill>
              </a:rPr>
              <a:t> da </a:t>
            </a:r>
            <a:r>
              <a:rPr lang="en-US" sz="900" b="0" i="1" dirty="0" err="1">
                <a:solidFill>
                  <a:schemeClr val="tx1"/>
                </a:solidFill>
              </a:rPr>
              <a:t>uopš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ij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važno</a:t>
            </a:r>
            <a:r>
              <a:rPr lang="en-US" sz="900" b="0" i="1" dirty="0">
                <a:solidFill>
                  <a:schemeClr val="tx1"/>
                </a:solidFill>
              </a:rPr>
              <a:t>, a 4 da </a:t>
            </a:r>
            <a:r>
              <a:rPr lang="en-US" sz="900" b="0" i="1" dirty="0" err="1">
                <a:solidFill>
                  <a:schemeClr val="tx1"/>
                </a:solidFill>
              </a:rPr>
              <a:t>Veom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važno</a:t>
            </a:r>
            <a:r>
              <a:rPr lang="en-US" sz="900" b="0" i="1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4DD682-DB2E-452E-8E1E-A29DE5F2E7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7121362" cy="383794"/>
          </a:xfrm>
          <a:solidFill>
            <a:srgbClr val="418F47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sr-Latn-RS" dirty="0"/>
              <a:t>Važnost kriterijuma za nabavku dobara ili usluga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754BF5-27FB-49C8-A78A-5FC8B642A146}"/>
              </a:ext>
            </a:extLst>
          </p:cNvPr>
          <p:cNvSpPr txBox="1"/>
          <p:nvPr/>
        </p:nvSpPr>
        <p:spPr bwMode="gray">
          <a:xfrm>
            <a:off x="6781800" y="4878550"/>
            <a:ext cx="2362200" cy="138499"/>
          </a:xfrm>
          <a:prstGeom prst="rect">
            <a:avLst/>
          </a:prstGeom>
          <a:noFill/>
        </p:spPr>
        <p:txBody>
          <a:bodyPr vert="horz" wrap="square" lIns="48965" tIns="0" rIns="48965" bIns="0" rtlCol="0" anchor="ctr">
            <a:spAutoFit/>
          </a:bodyPr>
          <a:lstStyle>
            <a:defPPr>
              <a:defRPr lang="en-US"/>
            </a:defPPr>
            <a:lvl1pPr indent="0" defTabSz="71526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Tx/>
              <a:buNone/>
              <a:defRPr sz="900" b="0" i="1"/>
            </a:lvl1pPr>
            <a:lvl2pPr marL="581156" indent="-223521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900"/>
            </a:lvl2pPr>
            <a:lvl3pPr marL="894087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600"/>
            </a:lvl3pPr>
            <a:lvl4pPr marL="1251722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4pPr>
            <a:lvl5pPr marL="1609356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5pPr>
            <a:lvl6pPr marL="1966991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6pPr>
            <a:lvl7pPr marL="2324626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7pPr>
            <a:lvl8pPr marL="2682260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8pPr>
            <a:lvl9pPr marL="3039895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9pPr>
          </a:lstStyle>
          <a:p>
            <a:r>
              <a:rPr lang="sr-Latn-RS" i="0" dirty="0"/>
              <a:t>Baza: Ukupna populacija ponuđača</a:t>
            </a:r>
            <a:endParaRPr lang="en-US" i="0" dirty="0"/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4E41FC0C-C512-476F-9726-1CD8305649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487685"/>
              </p:ext>
            </p:extLst>
          </p:nvPr>
        </p:nvGraphicFramePr>
        <p:xfrm>
          <a:off x="304800" y="1442651"/>
          <a:ext cx="8535898" cy="3185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9673761-C94D-4B45-8F02-AF02CE048699}"/>
              </a:ext>
            </a:extLst>
          </p:cNvPr>
          <p:cNvSpPr txBox="1"/>
          <p:nvPr/>
        </p:nvSpPr>
        <p:spPr>
          <a:xfrm>
            <a:off x="228602" y="703075"/>
            <a:ext cx="8686800" cy="5732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0000" tIns="0" rIns="90000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sr-Latn-RS" sz="1200" dirty="0"/>
              <a:t>83% ispitanih ponuđača smatra da su ekološki kriterijumi važni za nabavku dobara ili usluga, dok 85% istiše i da je kriterijum energetske efikasnosti jako bitan!</a:t>
            </a:r>
            <a:endParaRPr lang="en-US" sz="1200" dirty="0"/>
          </a:p>
        </p:txBody>
      </p:sp>
      <p:pic>
        <p:nvPicPr>
          <p:cNvPr id="8" name="Picture 14" descr="Briefcase">
            <a:extLst>
              <a:ext uri="{FF2B5EF4-FFF2-40B4-BE49-F238E27FC236}">
                <a16:creationId xmlns:a16="http://schemas.microsoft.com/office/drawing/2014/main" id="{AEA748D3-3112-4CEF-B619-B7C8CB25B8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4F568A77-64BD-4A93-8832-04F17567B8E7}"/>
              </a:ext>
            </a:extLst>
          </p:cNvPr>
          <p:cNvSpPr/>
          <p:nvPr/>
        </p:nvSpPr>
        <p:spPr bwMode="gray">
          <a:xfrm>
            <a:off x="312046" y="2876550"/>
            <a:ext cx="978408" cy="484632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60139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246D-C037-4DA6-B264-34745742C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7343409" cy="383794"/>
          </a:xfrm>
          <a:solidFill>
            <a:srgbClr val="007681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sr-Latn-RS" dirty="0"/>
              <a:t>Najvažniji kriterijumi za nabavku dobara ili usluga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250980-2711-4C4C-B61C-73B284A8FED6}"/>
              </a:ext>
            </a:extLst>
          </p:cNvPr>
          <p:cNvSpPr txBox="1"/>
          <p:nvPr/>
        </p:nvSpPr>
        <p:spPr>
          <a:xfrm>
            <a:off x="228602" y="703075"/>
            <a:ext cx="8686800" cy="5732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0000" tIns="0" rIns="90000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sr-Latn-RS" sz="1300" dirty="0"/>
              <a:t>Građani smatraju da je kriterijum kvaliteta najvažniji za nabavku dobara i usluga u Srbiji, dok svaki deseti građanin smatra da je ekološki kriterijum najvažniji. </a:t>
            </a:r>
            <a:endParaRPr lang="en-US" sz="1300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FDE9F79-CACC-480D-9270-748D546B4EBC}"/>
              </a:ext>
            </a:extLst>
          </p:cNvPr>
          <p:cNvSpPr txBox="1">
            <a:spLocks/>
          </p:cNvSpPr>
          <p:nvPr/>
        </p:nvSpPr>
        <p:spPr bwMode="gray">
          <a:xfrm>
            <a:off x="5576" y="4629150"/>
            <a:ext cx="3352798" cy="415498"/>
          </a:xfrm>
          <a:prstGeom prst="rect">
            <a:avLst/>
          </a:prstGeom>
          <a:noFill/>
        </p:spPr>
        <p:txBody>
          <a:bodyPr vert="horz" wrap="square" lIns="48965" tIns="0" rIns="48965" bIns="0" rtlCol="0" anchor="ctr">
            <a:spAutoFit/>
          </a:bodyPr>
          <a:lstStyle>
            <a:lvl1pPr marL="213587" indent="-21358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Tx/>
              <a:buNone/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81156" indent="-223521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087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1722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356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6991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4626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60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9895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Kada </a:t>
            </a:r>
            <a:r>
              <a:rPr lang="en-US" sz="900" b="0" i="1" dirty="0" err="1">
                <a:solidFill>
                  <a:schemeClr val="tx1"/>
                </a:solidFill>
              </a:rPr>
              <a:t>su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pitanj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javn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bavke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Srbiji</a:t>
            </a:r>
            <a:r>
              <a:rPr lang="en-US" sz="900" b="0" i="1" dirty="0">
                <a:solidFill>
                  <a:schemeClr val="tx1"/>
                </a:solidFill>
              </a:rPr>
              <a:t>, koji od </a:t>
            </a:r>
            <a:r>
              <a:rPr lang="en-US" sz="900" b="0" i="1" dirty="0" err="1">
                <a:solidFill>
                  <a:schemeClr val="tx1"/>
                </a:solidFill>
              </a:rPr>
              <a:t>sledećih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kriterijum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smatrate</a:t>
            </a:r>
            <a:r>
              <a:rPr lang="en-US" sz="900" b="0" i="1" dirty="0">
                <a:solidFill>
                  <a:schemeClr val="tx1"/>
                </a:solidFill>
              </a:rPr>
              <a:t> da je </a:t>
            </a:r>
            <a:r>
              <a:rPr lang="en-US" sz="900" b="0" i="1" dirty="0" err="1">
                <a:solidFill>
                  <a:schemeClr val="tx1"/>
                </a:solidFill>
              </a:rPr>
              <a:t>najvažniji</a:t>
            </a:r>
            <a:r>
              <a:rPr lang="en-US" sz="900" b="0" i="1" dirty="0">
                <a:solidFill>
                  <a:schemeClr val="tx1"/>
                </a:solidFill>
              </a:rPr>
              <a:t> za </a:t>
            </a:r>
            <a:r>
              <a:rPr lang="en-US" sz="900" b="0" i="1" dirty="0" err="1">
                <a:solidFill>
                  <a:schemeClr val="tx1"/>
                </a:solidFill>
              </a:rPr>
              <a:t>nabavk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dobar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il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sluga</a:t>
            </a:r>
            <a:r>
              <a:rPr lang="en-US" sz="900" b="0" i="1" dirty="0">
                <a:solidFill>
                  <a:schemeClr val="tx1"/>
                </a:solidFill>
              </a:rPr>
              <a:t>? A koji bi bio </a:t>
            </a:r>
            <a:r>
              <a:rPr lang="en-US" sz="900" b="0" i="1" dirty="0" err="1">
                <a:solidFill>
                  <a:schemeClr val="tx1"/>
                </a:solidFill>
              </a:rPr>
              <a:t>drug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jvažniji</a:t>
            </a:r>
            <a:r>
              <a:rPr lang="en-US" sz="900" b="0" i="1" dirty="0">
                <a:solidFill>
                  <a:schemeClr val="tx1"/>
                </a:solidFill>
              </a:rPr>
              <a:t>? A </a:t>
            </a:r>
            <a:r>
              <a:rPr lang="en-US" sz="900" b="0" i="1" dirty="0" err="1">
                <a:solidFill>
                  <a:schemeClr val="tx1"/>
                </a:solidFill>
              </a:rPr>
              <a:t>treći</a:t>
            </a:r>
            <a:r>
              <a:rPr lang="en-US" sz="900" b="0" i="1" dirty="0">
                <a:solidFill>
                  <a:schemeClr val="tx1"/>
                </a:solidFill>
              </a:rPr>
              <a:t>?; Vi</a:t>
            </a:r>
            <a:r>
              <a:rPr lang="sr-Latn-RS" sz="900" b="0" i="1" dirty="0">
                <a:solidFill>
                  <a:schemeClr val="tx1"/>
                </a:solidFill>
              </a:rPr>
              <a:t>šestruki odgovor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</a:p>
        </p:txBody>
      </p:sp>
      <p:graphicFrame>
        <p:nvGraphicFramePr>
          <p:cNvPr id="11" name="Object 1">
            <a:extLst>
              <a:ext uri="{FF2B5EF4-FFF2-40B4-BE49-F238E27FC236}">
                <a16:creationId xmlns:a16="http://schemas.microsoft.com/office/drawing/2014/main" id="{66B50645-BC50-42FE-BBD1-2045E33D08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1823642"/>
              </p:ext>
            </p:extLst>
          </p:nvPr>
        </p:nvGraphicFramePr>
        <p:xfrm>
          <a:off x="228602" y="1389558"/>
          <a:ext cx="8610598" cy="3239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5BCBBA9-A6FE-48A1-8C87-3BE46D32D9AE}"/>
              </a:ext>
            </a:extLst>
          </p:cNvPr>
          <p:cNvSpPr txBox="1"/>
          <p:nvPr/>
        </p:nvSpPr>
        <p:spPr bwMode="gray">
          <a:xfrm>
            <a:off x="6781799" y="4847224"/>
            <a:ext cx="2362201" cy="296276"/>
          </a:xfrm>
          <a:prstGeom prst="rect">
            <a:avLst/>
          </a:prstGeom>
          <a:noFill/>
        </p:spPr>
        <p:txBody>
          <a:bodyPr vert="horz" wrap="square" lIns="48921" tIns="0" rIns="48921" bIns="0" rtlCol="0" anchor="ctr">
            <a:noAutofit/>
          </a:bodyPr>
          <a:lstStyle/>
          <a:p>
            <a:pPr defTabSz="913269">
              <a:defRPr/>
            </a:pPr>
            <a:r>
              <a:rPr lang="en-US" sz="900" dirty="0">
                <a:solidFill>
                  <a:srgbClr val="222223"/>
                </a:solidFill>
                <a:latin typeface="Segoe UI"/>
              </a:rPr>
              <a:t>Ba</a:t>
            </a:r>
            <a:r>
              <a:rPr lang="sr-Latn-RS" sz="900" dirty="0">
                <a:solidFill>
                  <a:srgbClr val="222223"/>
                </a:solidFill>
                <a:latin typeface="Segoe UI"/>
              </a:rPr>
              <a:t>za</a:t>
            </a:r>
            <a:r>
              <a:rPr lang="en-US" sz="900" dirty="0">
                <a:solidFill>
                  <a:srgbClr val="222223"/>
                </a:solidFill>
                <a:latin typeface="Segoe UI"/>
              </a:rPr>
              <a:t>: </a:t>
            </a:r>
            <a:r>
              <a:rPr lang="sr-Latn-RS" sz="900" dirty="0">
                <a:solidFill>
                  <a:srgbClr val="222223"/>
                </a:solidFill>
                <a:latin typeface="Segoe UI"/>
              </a:rPr>
              <a:t>Ukupna populacija građana</a:t>
            </a:r>
            <a:endParaRPr lang="en-US" sz="9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9" name="Picture 14" descr="Man and woman">
            <a:extLst>
              <a:ext uri="{FF2B5EF4-FFF2-40B4-BE49-F238E27FC236}">
                <a16:creationId xmlns:a16="http://schemas.microsoft.com/office/drawing/2014/main" id="{9FC7AAFE-2301-42C8-8BBE-726EDBDB00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029A4A30-8079-4792-AFDB-801121C545B0}"/>
              </a:ext>
            </a:extLst>
          </p:cNvPr>
          <p:cNvSpPr/>
          <p:nvPr/>
        </p:nvSpPr>
        <p:spPr bwMode="gray">
          <a:xfrm>
            <a:off x="718557" y="2501924"/>
            <a:ext cx="978408" cy="484632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45700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B246D-C037-4DA6-B264-34745742C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7973134" cy="383794"/>
          </a:xfrm>
          <a:solidFill>
            <a:srgbClr val="007681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sr-Latn-RS" dirty="0"/>
              <a:t>Oblasti u koje treba najviše ulagati kroz javne nabavke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250980-2711-4C4C-B61C-73B284A8FED6}"/>
              </a:ext>
            </a:extLst>
          </p:cNvPr>
          <p:cNvSpPr txBox="1"/>
          <p:nvPr/>
        </p:nvSpPr>
        <p:spPr>
          <a:xfrm>
            <a:off x="228602" y="703075"/>
            <a:ext cx="8686800" cy="5732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0000" tIns="0" rIns="90000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en-GB" sz="1300" dirty="0"/>
              <a:t>Za</a:t>
            </a:r>
            <a:r>
              <a:rPr lang="sr-Latn-RS" sz="1300" dirty="0"/>
              <a:t>štita životne sredine je na 4 mestu prioriteta za ulaganja kroz javne nabavke po oceni građana, a na prva tri mesta su zdravstvo obrazovanje i infrastruktura i putevi.</a:t>
            </a:r>
            <a:endParaRPr lang="en-US" sz="1300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FDE9F79-CACC-480D-9270-748D546B4EBC}"/>
              </a:ext>
            </a:extLst>
          </p:cNvPr>
          <p:cNvSpPr txBox="1">
            <a:spLocks/>
          </p:cNvSpPr>
          <p:nvPr/>
        </p:nvSpPr>
        <p:spPr bwMode="gray">
          <a:xfrm>
            <a:off x="228602" y="4885660"/>
            <a:ext cx="4876798" cy="138499"/>
          </a:xfrm>
          <a:prstGeom prst="rect">
            <a:avLst/>
          </a:prstGeom>
          <a:noFill/>
        </p:spPr>
        <p:txBody>
          <a:bodyPr vert="horz" wrap="square" lIns="48965" tIns="0" rIns="48965" bIns="0" rtlCol="0" anchor="ctr">
            <a:spAutoFit/>
          </a:bodyPr>
          <a:lstStyle>
            <a:lvl1pPr marL="213587" indent="-21358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Tx/>
              <a:buNone/>
              <a:defRPr lang="en-US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81156" indent="-223521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087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1722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356" indent="-178817" algn="l" defTabSz="715269" rtl="0" eaLnBrk="1" latinLnBrk="0" hangingPunct="1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6991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4626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260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39895" indent="-178817" algn="l" defTabSz="715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U </a:t>
            </a:r>
            <a:r>
              <a:rPr lang="en-US" sz="900" b="0" i="1" dirty="0" err="1">
                <a:solidFill>
                  <a:schemeClr val="tx1"/>
                </a:solidFill>
              </a:rPr>
              <a:t>koj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oblasti</a:t>
            </a:r>
            <a:r>
              <a:rPr lang="en-US" sz="900" b="0" i="1" dirty="0">
                <a:solidFill>
                  <a:schemeClr val="tx1"/>
                </a:solidFill>
              </a:rPr>
              <a:t> po </a:t>
            </a:r>
            <a:r>
              <a:rPr lang="en-US" sz="900" b="0" i="1" dirty="0" err="1">
                <a:solidFill>
                  <a:schemeClr val="tx1"/>
                </a:solidFill>
              </a:rPr>
              <a:t>Vašem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mišljenj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treb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jviš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lagat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kroz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javn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bavke</a:t>
            </a:r>
            <a:r>
              <a:rPr lang="en-US" sz="900" b="0" i="1" dirty="0">
                <a:solidFill>
                  <a:schemeClr val="tx1"/>
                </a:solidFill>
              </a:rPr>
              <a:t>?; </a:t>
            </a:r>
            <a:r>
              <a:rPr lang="en-US" sz="900" b="0" i="1" dirty="0" err="1">
                <a:solidFill>
                  <a:schemeClr val="tx1"/>
                </a:solidFill>
              </a:rPr>
              <a:t>Višestruk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odgovori</a:t>
            </a:r>
            <a:endParaRPr lang="en-US" sz="900" b="0" i="1" dirty="0">
              <a:solidFill>
                <a:schemeClr val="tx1"/>
              </a:solidFill>
            </a:endParaRPr>
          </a:p>
        </p:txBody>
      </p:sp>
      <p:graphicFrame>
        <p:nvGraphicFramePr>
          <p:cNvPr id="11" name="Object 1">
            <a:extLst>
              <a:ext uri="{FF2B5EF4-FFF2-40B4-BE49-F238E27FC236}">
                <a16:creationId xmlns:a16="http://schemas.microsoft.com/office/drawing/2014/main" id="{66B50645-BC50-42FE-BBD1-2045E33D088A}"/>
              </a:ext>
            </a:extLst>
          </p:cNvPr>
          <p:cNvGraphicFramePr>
            <a:graphicFrameLocks/>
          </p:cNvGraphicFramePr>
          <p:nvPr/>
        </p:nvGraphicFramePr>
        <p:xfrm>
          <a:off x="228602" y="1389558"/>
          <a:ext cx="8610598" cy="3406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5BCBBA9-A6FE-48A1-8C87-3BE46D32D9AE}"/>
              </a:ext>
            </a:extLst>
          </p:cNvPr>
          <p:cNvSpPr txBox="1"/>
          <p:nvPr/>
        </p:nvSpPr>
        <p:spPr bwMode="gray">
          <a:xfrm>
            <a:off x="6781799" y="4847224"/>
            <a:ext cx="2362201" cy="296276"/>
          </a:xfrm>
          <a:prstGeom prst="rect">
            <a:avLst/>
          </a:prstGeom>
          <a:noFill/>
        </p:spPr>
        <p:txBody>
          <a:bodyPr vert="horz" wrap="square" lIns="48921" tIns="0" rIns="48921" bIns="0" rtlCol="0" anchor="ctr">
            <a:noAutofit/>
          </a:bodyPr>
          <a:lstStyle/>
          <a:p>
            <a:pPr defTabSz="913269">
              <a:defRPr/>
            </a:pPr>
            <a:r>
              <a:rPr lang="en-US" sz="900" dirty="0">
                <a:solidFill>
                  <a:srgbClr val="222223"/>
                </a:solidFill>
                <a:latin typeface="Segoe UI"/>
              </a:rPr>
              <a:t>Ba</a:t>
            </a:r>
            <a:r>
              <a:rPr lang="sr-Latn-RS" sz="900" dirty="0">
                <a:solidFill>
                  <a:srgbClr val="222223"/>
                </a:solidFill>
                <a:latin typeface="Segoe UI"/>
              </a:rPr>
              <a:t>za</a:t>
            </a:r>
            <a:r>
              <a:rPr lang="en-US" sz="900" dirty="0">
                <a:solidFill>
                  <a:srgbClr val="222223"/>
                </a:solidFill>
                <a:latin typeface="Segoe UI"/>
              </a:rPr>
              <a:t>: </a:t>
            </a:r>
            <a:r>
              <a:rPr lang="sr-Latn-RS" sz="900" dirty="0">
                <a:solidFill>
                  <a:srgbClr val="222223"/>
                </a:solidFill>
                <a:latin typeface="Segoe UI"/>
              </a:rPr>
              <a:t>Ukupna populacija građana</a:t>
            </a:r>
            <a:endParaRPr lang="en-US" sz="9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9" name="Picture 14" descr="Man and woman">
            <a:extLst>
              <a:ext uri="{FF2B5EF4-FFF2-40B4-BE49-F238E27FC236}">
                <a16:creationId xmlns:a16="http://schemas.microsoft.com/office/drawing/2014/main" id="{9FC7AAFE-2301-42C8-8BBE-726EDBDB00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  <p:sp>
        <p:nvSpPr>
          <p:cNvPr id="3" name="Arrow: Left 2">
            <a:extLst>
              <a:ext uri="{FF2B5EF4-FFF2-40B4-BE49-F238E27FC236}">
                <a16:creationId xmlns:a16="http://schemas.microsoft.com/office/drawing/2014/main" id="{4EBE892B-1AFE-4A31-A9D5-953447721598}"/>
              </a:ext>
            </a:extLst>
          </p:cNvPr>
          <p:cNvSpPr/>
          <p:nvPr/>
        </p:nvSpPr>
        <p:spPr bwMode="gray">
          <a:xfrm>
            <a:off x="5715000" y="2344818"/>
            <a:ext cx="978408" cy="484632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66429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62697" y="4302145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7" y="4199275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99710E5-2920-46CF-B651-501C7F2D2C8D}"/>
              </a:ext>
            </a:extLst>
          </p:cNvPr>
          <p:cNvSpPr txBox="1"/>
          <p:nvPr/>
        </p:nvSpPr>
        <p:spPr>
          <a:xfrm>
            <a:off x="1910109" y="900469"/>
            <a:ext cx="53435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900"/>
              </a:spcAft>
            </a:pPr>
            <a:r>
              <a:rPr lang="sr-Latn-RS" sz="3000" b="1" dirty="0">
                <a:solidFill>
                  <a:schemeClr val="accent6"/>
                </a:solidFill>
                <a:latin typeface="Candara" panose="020E0502030303020204" pitchFamily="34" charset="0"/>
              </a:rPr>
              <a:t>II deo - Trenutno stanje zelenih javnih nabavki u Republici Srbiji</a:t>
            </a:r>
            <a:endParaRPr lang="en-US" sz="3000" b="1" dirty="0">
              <a:solidFill>
                <a:schemeClr val="accent6"/>
              </a:solidFill>
              <a:latin typeface="Candara" panose="020E05020303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5BE52EC-6A97-4F6F-9DCF-09877E6B08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325" y="1830256"/>
            <a:ext cx="3181350" cy="238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237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389120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298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053" y="4286250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92AA01F-4E66-465B-B67F-6E56069F3C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3296" y="1326619"/>
            <a:ext cx="4435834" cy="2601266"/>
          </a:xfrm>
          <a:prstGeom prst="rect">
            <a:avLst/>
          </a:prstGeom>
        </p:spPr>
      </p:pic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C3778B20-6256-4EA1-9E11-BBA263E553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45840"/>
              </p:ext>
            </p:extLst>
          </p:nvPr>
        </p:nvGraphicFramePr>
        <p:xfrm>
          <a:off x="533400" y="1029796"/>
          <a:ext cx="3884106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884106">
                  <a:extLst>
                    <a:ext uri="{9D8B030D-6E8A-4147-A177-3AD203B41FA5}">
                      <a16:colId xmlns:a16="http://schemas.microsoft.com/office/drawing/2014/main" val="1345022355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sr-Latn-RS" sz="1400" dirty="0"/>
                        <a:t>Važeći propisi u Republici Srbiji: 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588738881"/>
                  </a:ext>
                </a:extLst>
              </a:tr>
            </a:tbl>
          </a:graphicData>
        </a:graphic>
      </p:graphicFrame>
      <p:sp>
        <p:nvSpPr>
          <p:cNvPr id="12" name="Arrow: Down 11">
            <a:extLst>
              <a:ext uri="{FF2B5EF4-FFF2-40B4-BE49-F238E27FC236}">
                <a16:creationId xmlns:a16="http://schemas.microsoft.com/office/drawing/2014/main" id="{A00A4D0B-AD73-4FFB-A63F-6B94E5CC64CA}"/>
              </a:ext>
            </a:extLst>
          </p:cNvPr>
          <p:cNvSpPr/>
          <p:nvPr/>
        </p:nvSpPr>
        <p:spPr>
          <a:xfrm>
            <a:off x="2323967" y="1307153"/>
            <a:ext cx="296228" cy="325112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92D050"/>
              </a:solidFill>
            </a:endParaRP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8E7CC023-F295-4E36-B71A-1BAC6B22B2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938411"/>
              </p:ext>
            </p:extLst>
          </p:nvPr>
        </p:nvGraphicFramePr>
        <p:xfrm>
          <a:off x="533400" y="1667889"/>
          <a:ext cx="3877362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938681">
                  <a:extLst>
                    <a:ext uri="{9D8B030D-6E8A-4147-A177-3AD203B41FA5}">
                      <a16:colId xmlns:a16="http://schemas.microsoft.com/office/drawing/2014/main" val="1076449781"/>
                    </a:ext>
                  </a:extLst>
                </a:gridCol>
                <a:gridCol w="1938681">
                  <a:extLst>
                    <a:ext uri="{9D8B030D-6E8A-4147-A177-3AD203B41FA5}">
                      <a16:colId xmlns:a16="http://schemas.microsoft.com/office/drawing/2014/main" val="1898092477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sr-Latn-RS" sz="1400" dirty="0"/>
                        <a:t>Zakoni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400" dirty="0"/>
                        <a:t>Strategija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98789998"/>
                  </a:ext>
                </a:extLst>
              </a:tr>
            </a:tbl>
          </a:graphicData>
        </a:graphic>
      </p:graphicFrame>
      <p:sp>
        <p:nvSpPr>
          <p:cNvPr id="17" name="Arrow: Down 16">
            <a:extLst>
              <a:ext uri="{FF2B5EF4-FFF2-40B4-BE49-F238E27FC236}">
                <a16:creationId xmlns:a16="http://schemas.microsoft.com/office/drawing/2014/main" id="{98FC0BAF-B8B3-42FB-B2C9-91D7FC213CE4}"/>
              </a:ext>
            </a:extLst>
          </p:cNvPr>
          <p:cNvSpPr/>
          <p:nvPr/>
        </p:nvSpPr>
        <p:spPr>
          <a:xfrm>
            <a:off x="1330465" y="1953565"/>
            <a:ext cx="285750" cy="278130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3916CC96-E238-4A9D-A501-F4FD9DB1C296}"/>
              </a:ext>
            </a:extLst>
          </p:cNvPr>
          <p:cNvSpPr/>
          <p:nvPr/>
        </p:nvSpPr>
        <p:spPr>
          <a:xfrm>
            <a:off x="3244628" y="1953565"/>
            <a:ext cx="285750" cy="278130"/>
          </a:xfrm>
          <a:prstGeom prst="downArrow">
            <a:avLst/>
          </a:prstGeom>
          <a:solidFill>
            <a:schemeClr val="accent6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7118A7-886F-4FA2-A1A6-F2608F91879F}"/>
              </a:ext>
            </a:extLst>
          </p:cNvPr>
          <p:cNvSpPr txBox="1"/>
          <p:nvPr/>
        </p:nvSpPr>
        <p:spPr>
          <a:xfrm>
            <a:off x="533400" y="2150400"/>
            <a:ext cx="1905000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en-US" sz="1350" b="1" dirty="0" err="1"/>
              <a:t>Zakon</a:t>
            </a:r>
            <a:r>
              <a:rPr lang="en-US" sz="1350" b="1" dirty="0"/>
              <a:t> o </a:t>
            </a:r>
            <a:r>
              <a:rPr lang="en-US" sz="1350" b="1" dirty="0" err="1"/>
              <a:t>javnim</a:t>
            </a:r>
            <a:r>
              <a:rPr lang="en-US" sz="1350" b="1" dirty="0"/>
              <a:t> </a:t>
            </a:r>
            <a:r>
              <a:rPr lang="en-US" sz="1350" b="1" dirty="0" err="1"/>
              <a:t>nabavkama</a:t>
            </a:r>
            <a:r>
              <a:rPr lang="sr-Latn-RS" sz="1350" b="1" dirty="0"/>
              <a:t>;</a:t>
            </a:r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sr-Latn-RS" sz="1350" b="1" dirty="0"/>
          </a:p>
          <a:p>
            <a:pPr marL="214313" indent="-214313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en-US" sz="1350" b="1" dirty="0" err="1"/>
              <a:t>Zakon</a:t>
            </a:r>
            <a:r>
              <a:rPr lang="en-US" sz="1350" b="1" dirty="0"/>
              <a:t> o </a:t>
            </a:r>
            <a:r>
              <a:rPr lang="en-US" sz="1350" b="1" dirty="0" err="1"/>
              <a:t>javno-privatnom</a:t>
            </a:r>
            <a:r>
              <a:rPr lang="en-US" sz="1350" b="1" dirty="0"/>
              <a:t> </a:t>
            </a:r>
            <a:r>
              <a:rPr lang="en-US" sz="1350" b="1" dirty="0" err="1"/>
              <a:t>partnerstvu</a:t>
            </a:r>
            <a:r>
              <a:rPr lang="en-US" sz="1350" b="1" dirty="0"/>
              <a:t> </a:t>
            </a:r>
            <a:r>
              <a:rPr lang="en-US" sz="1350" b="1" dirty="0" err="1"/>
              <a:t>i</a:t>
            </a:r>
            <a:r>
              <a:rPr lang="en-US" sz="1350" b="1" dirty="0"/>
              <a:t> </a:t>
            </a:r>
            <a:r>
              <a:rPr lang="en-US" sz="1350" b="1" dirty="0" err="1"/>
              <a:t>koncesijama</a:t>
            </a:r>
            <a:r>
              <a:rPr lang="en-US" sz="1350" b="1" dirty="0"/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38C0785-F5DA-467D-83A6-4B66F7159CD2}"/>
              </a:ext>
            </a:extLst>
          </p:cNvPr>
          <p:cNvSpPr txBox="1"/>
          <p:nvPr/>
        </p:nvSpPr>
        <p:spPr>
          <a:xfrm>
            <a:off x="2438400" y="2150400"/>
            <a:ext cx="2133600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Clr>
                <a:schemeClr val="accent6"/>
              </a:buClr>
              <a:buFont typeface="Wingdings" panose="05000000000000000000" pitchFamily="2" charset="2"/>
              <a:buChar char="Ø"/>
            </a:pPr>
            <a:r>
              <a:rPr lang="en-US" sz="1350" b="1" dirty="0" err="1"/>
              <a:t>Akcioni</a:t>
            </a:r>
            <a:r>
              <a:rPr lang="en-US" sz="1350" b="1" dirty="0"/>
              <a:t> plan za 2021. </a:t>
            </a:r>
            <a:r>
              <a:rPr lang="en-US" sz="1350" b="1" dirty="0" err="1"/>
              <a:t>godinu</a:t>
            </a:r>
            <a:r>
              <a:rPr lang="en-US" sz="1350" b="1" dirty="0"/>
              <a:t> za </a:t>
            </a:r>
            <a:r>
              <a:rPr lang="en-US" sz="1350" b="1" dirty="0" err="1"/>
              <a:t>sprovođenje</a:t>
            </a:r>
            <a:r>
              <a:rPr lang="en-US" sz="1350" b="1" dirty="0"/>
              <a:t> </a:t>
            </a:r>
            <a:r>
              <a:rPr lang="en-US" sz="1350" b="1" dirty="0" err="1"/>
              <a:t>Programa</a:t>
            </a:r>
            <a:r>
              <a:rPr lang="en-US" sz="1350" b="1" dirty="0"/>
              <a:t> </a:t>
            </a:r>
            <a:r>
              <a:rPr lang="en-US" sz="1350" b="1" dirty="0" err="1"/>
              <a:t>razvoja</a:t>
            </a:r>
            <a:r>
              <a:rPr lang="en-US" sz="1350" b="1" dirty="0"/>
              <a:t> </a:t>
            </a:r>
            <a:r>
              <a:rPr lang="en-US" sz="1350" b="1" dirty="0" err="1"/>
              <a:t>javnih</a:t>
            </a:r>
            <a:r>
              <a:rPr lang="en-US" sz="1350" b="1" dirty="0"/>
              <a:t> </a:t>
            </a:r>
            <a:r>
              <a:rPr lang="en-US" sz="1350" b="1" dirty="0" err="1"/>
              <a:t>nabavki</a:t>
            </a:r>
            <a:r>
              <a:rPr lang="en-US" sz="1350" b="1" dirty="0"/>
              <a:t> u </a:t>
            </a:r>
            <a:r>
              <a:rPr lang="en-US" sz="1350" b="1" dirty="0" err="1"/>
              <a:t>Republici</a:t>
            </a:r>
            <a:r>
              <a:rPr lang="en-US" sz="1350" b="1" dirty="0"/>
              <a:t> </a:t>
            </a:r>
            <a:r>
              <a:rPr lang="en-US" sz="1350" b="1" dirty="0" err="1"/>
              <a:t>Srbiji</a:t>
            </a:r>
            <a:r>
              <a:rPr lang="en-US" sz="1350" b="1" dirty="0"/>
              <a:t> za period 2019-2023</a:t>
            </a:r>
          </a:p>
        </p:txBody>
      </p:sp>
    </p:spTree>
    <p:extLst>
      <p:ext uri="{BB962C8B-B14F-4D97-AF65-F5344CB8AC3E}">
        <p14:creationId xmlns:p14="http://schemas.microsoft.com/office/powerpoint/2010/main" val="35042420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1CFBBF4-B459-44E3-9479-A0F74E62CA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280772"/>
              </p:ext>
            </p:extLst>
          </p:nvPr>
        </p:nvGraphicFramePr>
        <p:xfrm>
          <a:off x="228600" y="959994"/>
          <a:ext cx="85344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534400">
                  <a:extLst>
                    <a:ext uri="{9D8B030D-6E8A-4147-A177-3AD203B41FA5}">
                      <a16:colId xmlns:a16="http://schemas.microsoft.com/office/drawing/2014/main" val="2244973298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just"/>
                      <a:r>
                        <a:rPr lang="sr-Latn-RS" sz="1400" dirty="0"/>
                        <a:t>Zakon o javnim nabavkama („Službeni glasnik RS“ br. 91/2019):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78411793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BA2F2D1-881F-4330-A159-4CC2BFB277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215726"/>
              </p:ext>
            </p:extLst>
          </p:nvPr>
        </p:nvGraphicFramePr>
        <p:xfrm>
          <a:off x="228600" y="1585053"/>
          <a:ext cx="4876800" cy="224790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876800">
                  <a:extLst>
                    <a:ext uri="{9D8B030D-6E8A-4147-A177-3AD203B41FA5}">
                      <a16:colId xmlns:a16="http://schemas.microsoft.com/office/drawing/2014/main" val="2233772787"/>
                    </a:ext>
                  </a:extLst>
                </a:gridCol>
              </a:tblGrid>
              <a:tr h="2053497">
                <a:tc>
                  <a:txBody>
                    <a:bodyPr/>
                    <a:lstStyle/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300" dirty="0" err="1"/>
                        <a:t>Zakon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potpuno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kla</a:t>
                      </a:r>
                      <a:r>
                        <a:rPr lang="sr-Latn-RS" sz="1300" dirty="0"/>
                        <a:t>đ</a:t>
                      </a:r>
                      <a:r>
                        <a:rPr lang="en-US" sz="1300" dirty="0" err="1"/>
                        <a:t>en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irektiva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vrops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n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reguliš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bla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;</a:t>
                      </a:r>
                      <a:endParaRPr lang="sr-Latn-RS" sz="13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300" dirty="0" err="1"/>
                        <a:t>Dvanaest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dzakonsk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at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onet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snov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kona</a:t>
                      </a:r>
                      <a:r>
                        <a:rPr lang="en-US" sz="1300" dirty="0"/>
                        <a:t> o </a:t>
                      </a:r>
                      <a:r>
                        <a:rPr lang="en-US" sz="1300" dirty="0" err="1"/>
                        <a:t>jav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ama</a:t>
                      </a:r>
                      <a:r>
                        <a:rPr lang="en-US" sz="1300" dirty="0"/>
                        <a:t>; </a:t>
                      </a:r>
                      <a:endParaRPr lang="sr-Latn-RS" sz="13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300" dirty="0"/>
                        <a:t>U </a:t>
                      </a:r>
                      <a:r>
                        <a:rPr lang="en-US" sz="1300" dirty="0" err="1"/>
                        <a:t>okvir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pšt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redb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pisano</a:t>
                      </a:r>
                      <a:r>
                        <a:rPr lang="en-US" sz="1300" dirty="0"/>
                        <a:t> da </a:t>
                      </a:r>
                      <a:r>
                        <a:rPr lang="en-US" sz="1300" dirty="0" err="1"/>
                        <a:t>s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vredn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ubjek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užni</a:t>
                      </a:r>
                      <a:r>
                        <a:rPr lang="en-US" sz="1300" dirty="0"/>
                        <a:t> da u </a:t>
                      </a:r>
                      <a:r>
                        <a:rPr lang="en-US" sz="1300" dirty="0" err="1"/>
                        <a:t>izvršavan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govora</a:t>
                      </a:r>
                      <a:r>
                        <a:rPr lang="en-US" sz="1300" dirty="0"/>
                        <a:t> o </a:t>
                      </a:r>
                      <a:r>
                        <a:rPr lang="en-US" sz="1300" dirty="0" err="1"/>
                        <a:t>javnoj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ci</a:t>
                      </a:r>
                      <a:r>
                        <a:rPr lang="en-US" sz="1300" dirty="0"/>
                        <a:t> (</a:t>
                      </a:r>
                      <a:r>
                        <a:rPr lang="en-US" sz="1300" dirty="0" err="1"/>
                        <a:t>izmeđ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stalog</a:t>
                      </a:r>
                      <a:r>
                        <a:rPr lang="en-US" sz="1300" dirty="0"/>
                        <a:t>) </a:t>
                      </a:r>
                      <a:r>
                        <a:rPr lang="en-US" sz="1300" dirty="0" err="1"/>
                        <a:t>poštu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baveze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obla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štit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ka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redb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međunarod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a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vezanog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zaštit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dok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log</a:t>
                      </a:r>
                      <a:r>
                        <a:rPr lang="en-US" sz="1300" dirty="0"/>
                        <a:t> 8 </a:t>
                      </a:r>
                      <a:r>
                        <a:rPr lang="en-US" sz="1300" dirty="0" err="1"/>
                        <a:t>Zako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vodi</a:t>
                      </a:r>
                      <a:r>
                        <a:rPr lang="en-US" sz="1300" dirty="0"/>
                        <a:t> 5 </a:t>
                      </a:r>
                      <a:r>
                        <a:rPr lang="en-US" sz="1300" dirty="0" err="1"/>
                        <a:t>konvenci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z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bla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štit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u</a:t>
                      </a:r>
                      <a:r>
                        <a:rPr lang="en-US" sz="1300" dirty="0"/>
                        <a:t> deo </a:t>
                      </a:r>
                      <a:r>
                        <a:rPr lang="en-US" sz="1300" dirty="0" err="1"/>
                        <a:t>prav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iste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Republi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bije</a:t>
                      </a:r>
                      <a:r>
                        <a:rPr lang="en-US" sz="1300" dirty="0"/>
                        <a:t>;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98722672"/>
                  </a:ext>
                </a:extLst>
              </a:tr>
            </a:tbl>
          </a:graphicData>
        </a:graphic>
      </p:graphicFrame>
      <p:pic>
        <p:nvPicPr>
          <p:cNvPr id="12" name="Picture 11" descr="A picture containing green, vegetable&#10;&#10;Description automatically generated">
            <a:extLst>
              <a:ext uri="{FF2B5EF4-FFF2-40B4-BE49-F238E27FC236}">
                <a16:creationId xmlns:a16="http://schemas.microsoft.com/office/drawing/2014/main" id="{C23F27B2-DE78-42AA-AC81-590B93411A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1558187"/>
            <a:ext cx="3439886" cy="2290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7469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A63922E7-B2A9-4D88-A901-5238A72616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274295"/>
              </p:ext>
            </p:extLst>
          </p:nvPr>
        </p:nvGraphicFramePr>
        <p:xfrm>
          <a:off x="457200" y="955119"/>
          <a:ext cx="765854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658540">
                  <a:extLst>
                    <a:ext uri="{9D8B030D-6E8A-4147-A177-3AD203B41FA5}">
                      <a16:colId xmlns:a16="http://schemas.microsoft.com/office/drawing/2014/main" val="844967624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dirty="0"/>
                        <a:t>Zakon o javnim nabavkama („Službeni glasnik RS“ br. 91/2019):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310600744"/>
                  </a:ext>
                </a:extLst>
              </a:tr>
            </a:tbl>
          </a:graphicData>
        </a:graphic>
      </p:graphicFrame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94E263C0-0BAA-4FDE-BF4E-4AEFC2A7530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42" t="1293" r="17742"/>
          <a:stretch/>
        </p:blipFill>
        <p:spPr>
          <a:xfrm>
            <a:off x="4915340" y="1260587"/>
            <a:ext cx="3200400" cy="2742050"/>
          </a:xfrm>
          <a:prstGeom prst="ellipse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0975462-CC11-4D91-B659-73AA2740C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381192"/>
              </p:ext>
            </p:extLst>
          </p:nvPr>
        </p:nvGraphicFramePr>
        <p:xfrm>
          <a:off x="518305" y="1834918"/>
          <a:ext cx="4053695" cy="151638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053695">
                  <a:extLst>
                    <a:ext uri="{9D8B030D-6E8A-4147-A177-3AD203B41FA5}">
                      <a16:colId xmlns:a16="http://schemas.microsoft.com/office/drawing/2014/main" val="301537763"/>
                    </a:ext>
                  </a:extLst>
                </a:gridCol>
              </a:tblGrid>
              <a:tr h="146756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a</a:t>
                      </a:r>
                      <a:r>
                        <a:rPr lang="sr-Latn-RS" sz="1400" dirty="0"/>
                        <a:t>j</a:t>
                      </a:r>
                      <a:r>
                        <a:rPr lang="en-US" sz="1400" dirty="0" err="1"/>
                        <a:t>značajnij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dredb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akon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ja</a:t>
                      </a:r>
                      <a:r>
                        <a:rPr lang="en-US" sz="1400" dirty="0"/>
                        <a:t> se </a:t>
                      </a:r>
                      <a:r>
                        <a:rPr lang="en-US" sz="1400" dirty="0" err="1"/>
                        <a:t>tič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elen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javn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abavk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jest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ogućnost</a:t>
                      </a:r>
                      <a:r>
                        <a:rPr lang="en-US" sz="1400" dirty="0"/>
                        <a:t> da se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riterijum</a:t>
                      </a:r>
                      <a:r>
                        <a:rPr lang="en-US" sz="1400" dirty="0"/>
                        <a:t> za </a:t>
                      </a:r>
                      <a:r>
                        <a:rPr lang="en-US" sz="1400" dirty="0" err="1"/>
                        <a:t>ocen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onud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edvid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imeno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istup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oškovn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fikasnosti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što</a:t>
                      </a:r>
                      <a:r>
                        <a:rPr lang="en-US" sz="1400" dirty="0"/>
                        <a:t> je </a:t>
                      </a:r>
                      <a:r>
                        <a:rPr lang="en-US" sz="1400" dirty="0" err="1"/>
                        <a:t>trošak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životno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iklusa</a:t>
                      </a:r>
                      <a:r>
                        <a:rPr lang="en-US" sz="1400" dirty="0"/>
                        <a:t>, u </a:t>
                      </a:r>
                      <a:r>
                        <a:rPr lang="en-US" sz="1400" dirty="0" err="1"/>
                        <a:t>sklad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članom</a:t>
                      </a:r>
                      <a:r>
                        <a:rPr lang="en-US" sz="1400" dirty="0"/>
                        <a:t> 134. </a:t>
                      </a:r>
                      <a:r>
                        <a:rPr lang="en-US" sz="1400" dirty="0" err="1"/>
                        <a:t>Zakona</a:t>
                      </a:r>
                      <a:r>
                        <a:rPr lang="en-US" sz="1400" dirty="0"/>
                        <a:t>;</a:t>
                      </a:r>
                    </a:p>
                    <a:p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8753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9363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A63922E7-B2A9-4D88-A901-5238A72616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4520961"/>
              </p:ext>
            </p:extLst>
          </p:nvPr>
        </p:nvGraphicFramePr>
        <p:xfrm>
          <a:off x="304800" y="955119"/>
          <a:ext cx="82296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229600">
                  <a:extLst>
                    <a:ext uri="{9D8B030D-6E8A-4147-A177-3AD203B41FA5}">
                      <a16:colId xmlns:a16="http://schemas.microsoft.com/office/drawing/2014/main" val="844967624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dirty="0"/>
                        <a:t>Zakon o javnim nabavkama („Službeni glasnik RS“ br. 91/2019):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31060074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90975462-CC11-4D91-B659-73AA2740C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7276315"/>
              </p:ext>
            </p:extLst>
          </p:nvPr>
        </p:nvGraphicFramePr>
        <p:xfrm>
          <a:off x="1163223" y="1426880"/>
          <a:ext cx="6837778" cy="24155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837778">
                  <a:extLst>
                    <a:ext uri="{9D8B030D-6E8A-4147-A177-3AD203B41FA5}">
                      <a16:colId xmlns:a16="http://schemas.microsoft.com/office/drawing/2014/main" val="301537763"/>
                    </a:ext>
                  </a:extLst>
                </a:gridCol>
              </a:tblGrid>
              <a:tr h="233172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/>
                        <a:t>Troškovi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err="1"/>
                        <a:t>životnog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err="1"/>
                        <a:t>ciklusa</a:t>
                      </a:r>
                      <a:r>
                        <a:rPr lang="en-US" sz="1400" b="1" dirty="0"/>
                        <a:t> </a:t>
                      </a:r>
                      <a:r>
                        <a:rPr lang="en-US" sz="1400" b="1" dirty="0" err="1"/>
                        <a:t>obuhvataju</a:t>
                      </a:r>
                      <a:r>
                        <a:rPr lang="en-US" sz="1400" b="1" dirty="0"/>
                        <a:t>:</a:t>
                      </a:r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 err="1"/>
                        <a:t>troškov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j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nos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aručilac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l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rug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risnici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št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u</a:t>
                      </a:r>
                      <a:r>
                        <a:rPr lang="en-US" sz="1400" dirty="0"/>
                        <a:t>:</a:t>
                      </a:r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abavke</a:t>
                      </a:r>
                      <a:r>
                        <a:rPr lang="en-US" sz="1400" dirty="0"/>
                        <a:t>;</a:t>
                      </a:r>
                      <a:endParaRPr lang="sr-Latn-RS" sz="14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upotrebe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što</a:t>
                      </a:r>
                      <a:r>
                        <a:rPr lang="en-US" sz="1400" dirty="0"/>
                        <a:t> je </a:t>
                      </a:r>
                      <a:r>
                        <a:rPr lang="en-US" sz="1400" dirty="0" err="1"/>
                        <a:t>potrošnj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nergij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rug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resursa</a:t>
                      </a:r>
                      <a:r>
                        <a:rPr lang="en-US" sz="1400" dirty="0"/>
                        <a:t>;</a:t>
                      </a:r>
                      <a:endParaRPr lang="sr-Latn-RS" sz="14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održavanja</a:t>
                      </a:r>
                      <a:r>
                        <a:rPr lang="en-US" sz="1400" dirty="0"/>
                        <a:t>;</a:t>
                      </a:r>
                      <a:endParaRPr lang="sr-Latn-RS" sz="14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raj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životno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iklusa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št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oškov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akupljanj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recikliranja</a:t>
                      </a:r>
                      <a:r>
                        <a:rPr lang="en-US" sz="1400" dirty="0"/>
                        <a:t>.</a:t>
                      </a:r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 err="1"/>
                        <a:t>troškov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ipisan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poljašnji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kološki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faktorim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ovezani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obrom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uslugo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l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radovim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oko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jihovo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životnog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ciklusa</a:t>
                      </a:r>
                      <a:r>
                        <a:rPr lang="en-US" sz="1400" dirty="0"/>
                        <a:t>, pod </a:t>
                      </a:r>
                      <a:r>
                        <a:rPr lang="en-US" sz="1400" dirty="0" err="1"/>
                        <a:t>uslovom</a:t>
                      </a:r>
                      <a:r>
                        <a:rPr lang="en-US" sz="1400" dirty="0"/>
                        <a:t> da </a:t>
                      </a:r>
                      <a:r>
                        <a:rPr lang="en-US" sz="1400" dirty="0" err="1"/>
                        <a:t>njihov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ovčan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vrednost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može</a:t>
                      </a:r>
                      <a:r>
                        <a:rPr lang="en-US" sz="1400" dirty="0"/>
                        <a:t> da se </a:t>
                      </a:r>
                      <a:r>
                        <a:rPr lang="en-US" sz="1400" dirty="0" err="1"/>
                        <a:t>odred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overi</a:t>
                      </a:r>
                      <a:r>
                        <a:rPr lang="en-US" sz="1400" dirty="0"/>
                        <a:t>, a koji </a:t>
                      </a:r>
                      <a:r>
                        <a:rPr lang="en-US" sz="1400" dirty="0" err="1"/>
                        <a:t>mogu</a:t>
                      </a:r>
                      <a:r>
                        <a:rPr lang="en-US" sz="1400" dirty="0"/>
                        <a:t> da </a:t>
                      </a:r>
                      <a:r>
                        <a:rPr lang="en-US" sz="1400" dirty="0" err="1"/>
                        <a:t>obuhvat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oškov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misij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asov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fekto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taklen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bašt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emisij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rug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zagađivača</a:t>
                      </a:r>
                      <a:r>
                        <a:rPr lang="en-US" sz="1400" dirty="0"/>
                        <a:t>, </a:t>
                      </a:r>
                      <a:r>
                        <a:rPr lang="en-US" sz="1400" dirty="0" err="1"/>
                        <a:t>kao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drug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troškov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ublažavanj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limatsk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omena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8753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5851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34866" y="426590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32959" y="339566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636" y="416303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BACCD66D-D6CD-40BC-96F6-6FB020E922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084594"/>
              </p:ext>
            </p:extLst>
          </p:nvPr>
        </p:nvGraphicFramePr>
        <p:xfrm>
          <a:off x="381000" y="955119"/>
          <a:ext cx="82296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229600">
                  <a:extLst>
                    <a:ext uri="{9D8B030D-6E8A-4147-A177-3AD203B41FA5}">
                      <a16:colId xmlns:a16="http://schemas.microsoft.com/office/drawing/2014/main" val="1490672983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dirty="0"/>
                        <a:t>Zakon o javnim nabavkama („Službeni glasnik RS“ br. 91/2019):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6772202"/>
                  </a:ext>
                </a:extLst>
              </a:tr>
            </a:tbl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78E1214C-F188-4DF8-B6B7-1CE56C0FDA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341268"/>
              </p:ext>
            </p:extLst>
          </p:nvPr>
        </p:nvGraphicFramePr>
        <p:xfrm>
          <a:off x="1432959" y="1265497"/>
          <a:ext cx="5806041" cy="2897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21276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69036" y="4629150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902" y="4428411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7C0FA1-BC6F-4CD3-9CDE-BE60F016A145}"/>
              </a:ext>
            </a:extLst>
          </p:cNvPr>
          <p:cNvSpPr txBox="1"/>
          <p:nvPr/>
        </p:nvSpPr>
        <p:spPr>
          <a:xfrm>
            <a:off x="1447800" y="1272353"/>
            <a:ext cx="609600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900"/>
              </a:spcAft>
            </a:pPr>
            <a:r>
              <a:rPr lang="sr-Latn-RS" sz="3000" b="1" dirty="0">
                <a:solidFill>
                  <a:srgbClr val="92D050"/>
                </a:solidFill>
                <a:latin typeface="Candara" panose="020E0502030303020204" pitchFamily="34" charset="0"/>
                <a:ea typeface="Times New Roman" panose="02020603050405020304" pitchFamily="18" charset="0"/>
              </a:rPr>
              <a:t>I deo: Sprovedeno istraživanje:</a:t>
            </a:r>
            <a:endParaRPr lang="en-US" sz="2100" dirty="0">
              <a:solidFill>
                <a:srgbClr val="92D05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>
              <a:spcAft>
                <a:spcPts val="900"/>
              </a:spcAft>
            </a:pPr>
            <a:endParaRPr lang="en-US" sz="135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8" name="Picture 7" descr="A person holding a light bulb&#10;&#10;Description automatically generated with medium confidence">
            <a:extLst>
              <a:ext uri="{FF2B5EF4-FFF2-40B4-BE49-F238E27FC236}">
                <a16:creationId xmlns:a16="http://schemas.microsoft.com/office/drawing/2014/main" id="{C0A845DE-5EFF-415A-A735-728B56B3CC0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5012" y="1885950"/>
            <a:ext cx="5021576" cy="247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306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28774" y="423161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7" y="4119801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7B84D60E-5130-4B11-8790-29CD0011DF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0707962"/>
              </p:ext>
            </p:extLst>
          </p:nvPr>
        </p:nvGraphicFramePr>
        <p:xfrm>
          <a:off x="304800" y="955119"/>
          <a:ext cx="80772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077200">
                  <a:extLst>
                    <a:ext uri="{9D8B030D-6E8A-4147-A177-3AD203B41FA5}">
                      <a16:colId xmlns:a16="http://schemas.microsoft.com/office/drawing/2014/main" val="102228685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dirty="0"/>
                        <a:t>Zakon o javnim nabavkama („Službeni glasnik RS“ br. 91/2019):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50234163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841FC50-CDF6-4556-96B5-F952A1357F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089659"/>
              </p:ext>
            </p:extLst>
          </p:nvPr>
        </p:nvGraphicFramePr>
        <p:xfrm>
          <a:off x="924344" y="1425672"/>
          <a:ext cx="3486150" cy="261366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486150">
                  <a:extLst>
                    <a:ext uri="{9D8B030D-6E8A-4147-A177-3AD203B41FA5}">
                      <a16:colId xmlns:a16="http://schemas.microsoft.com/office/drawing/2014/main" val="1301663560"/>
                    </a:ext>
                  </a:extLst>
                </a:gridCol>
              </a:tblGrid>
              <a:tr h="2292155">
                <a:tc>
                  <a:txBody>
                    <a:bodyPr/>
                    <a:lstStyle/>
                    <a:p>
                      <a:pPr algn="ctr"/>
                      <a:r>
                        <a:rPr lang="sr-Latn-RS" sz="1100" b="1" dirty="0"/>
                        <a:t>Nedostaci alternativno postavljenih kriterijuma: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 err="1"/>
                        <a:t>Naručioci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stavlje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mogućnost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zbora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kriteriju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konoms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jpovoljn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nud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pisan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a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edini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tj</a:t>
                      </a:r>
                      <a:r>
                        <a:rPr lang="en-US" sz="1300" dirty="0"/>
                        <a:t>. </a:t>
                      </a:r>
                      <a:r>
                        <a:rPr lang="en-US" sz="1300" dirty="0" err="1"/>
                        <a:t>osnovni</a:t>
                      </a:r>
                      <a:r>
                        <a:rPr lang="en-US" sz="1300" dirty="0"/>
                        <a:t>;</a:t>
                      </a:r>
                      <a:endParaRPr lang="sr-Latn-RS" sz="1300" dirty="0"/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/>
                        <a:t>U </a:t>
                      </a:r>
                      <a:r>
                        <a:rPr lang="en-US" sz="1300" dirty="0" err="1"/>
                        <a:t>praksi</a:t>
                      </a:r>
                      <a:r>
                        <a:rPr lang="en-US" sz="1300" dirty="0"/>
                        <a:t> se </a:t>
                      </a:r>
                      <a:r>
                        <a:rPr lang="en-US" sz="1300" dirty="0" err="1"/>
                        <a:t>naručioc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jčešć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predeljuju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kriterijum</a:t>
                      </a:r>
                      <a:r>
                        <a:rPr lang="en-US" sz="1300" dirty="0"/>
                        <a:t> (</a:t>
                      </a:r>
                      <a:r>
                        <a:rPr lang="en-US" sz="1300" dirty="0" err="1"/>
                        <a:t>najniž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nuđene</a:t>
                      </a:r>
                      <a:r>
                        <a:rPr lang="en-US" sz="1300" dirty="0"/>
                        <a:t>) </a:t>
                      </a:r>
                      <a:r>
                        <a:rPr lang="en-US" sz="1300" dirty="0" err="1"/>
                        <a:t>cen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čime</a:t>
                      </a:r>
                      <a:r>
                        <a:rPr lang="en-US" sz="1300" dirty="0"/>
                        <a:t> se </a:t>
                      </a:r>
                      <a:r>
                        <a:rPr lang="en-US" sz="1300" dirty="0" err="1"/>
                        <a:t>znat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graniča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mogućnost</a:t>
                      </a:r>
                      <a:r>
                        <a:rPr lang="en-US" sz="1300" dirty="0"/>
                        <a:t> da se </a:t>
                      </a:r>
                      <a:r>
                        <a:rPr lang="en-US" sz="1300" dirty="0" err="1"/>
                        <a:t>jav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proved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ao</a:t>
                      </a:r>
                      <a:r>
                        <a:rPr lang="en-US" sz="1300" dirty="0"/>
                        <a:t> “</a:t>
                      </a:r>
                      <a:r>
                        <a:rPr lang="en-US" sz="1300" dirty="0" err="1"/>
                        <a:t>zelena</a:t>
                      </a:r>
                      <a:r>
                        <a:rPr lang="en-US" sz="1300" dirty="0"/>
                        <a:t>”;</a:t>
                      </a:r>
                      <a:endParaRPr lang="sr-Latn-RS" sz="1300" dirty="0"/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 err="1"/>
                        <a:t>Pre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daci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ancelarije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, za </a:t>
                      </a:r>
                      <a:r>
                        <a:rPr lang="en-US" sz="1300" dirty="0" err="1"/>
                        <a:t>vrem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važen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ov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kona</a:t>
                      </a:r>
                      <a:r>
                        <a:rPr lang="en-US" sz="1300" dirty="0"/>
                        <a:t> o </a:t>
                      </a:r>
                      <a:r>
                        <a:rPr lang="en-US" sz="1300" dirty="0" err="1"/>
                        <a:t>jav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ama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Srbij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is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provođene</a:t>
                      </a:r>
                      <a:r>
                        <a:rPr lang="en-US" sz="1300" dirty="0"/>
                        <a:t> “</a:t>
                      </a:r>
                      <a:r>
                        <a:rPr lang="en-US" sz="1300" dirty="0" err="1"/>
                        <a:t>zel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”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00330610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D5F5490-929E-44EA-866E-205ABEBAAA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888710"/>
              </p:ext>
            </p:extLst>
          </p:nvPr>
        </p:nvGraphicFramePr>
        <p:xfrm>
          <a:off x="4724400" y="1425672"/>
          <a:ext cx="3352800" cy="261366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352800">
                  <a:extLst>
                    <a:ext uri="{9D8B030D-6E8A-4147-A177-3AD203B41FA5}">
                      <a16:colId xmlns:a16="http://schemas.microsoft.com/office/drawing/2014/main" val="1398744918"/>
                    </a:ext>
                  </a:extLst>
                </a:gridCol>
              </a:tblGrid>
              <a:tr h="2613660">
                <a:tc>
                  <a:txBody>
                    <a:bodyPr/>
                    <a:lstStyle/>
                    <a:p>
                      <a:pPr marL="0" marR="0" lvl="0" indent="0" algn="l" defTabSz="7152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100" b="1" dirty="0"/>
                        <a:t>Rešenje:</a:t>
                      </a:r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 err="1"/>
                        <a:t>Poveć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cent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češć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riteriju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konoms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jpovoljn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nude</a:t>
                      </a:r>
                      <a:r>
                        <a:rPr lang="en-US" sz="1300" dirty="0"/>
                        <a:t> od uku</a:t>
                      </a:r>
                      <a:r>
                        <a:rPr lang="sr-Latn-RS" sz="1300"/>
                        <a:t>p</a:t>
                      </a:r>
                      <a:r>
                        <a:rPr lang="en-US" sz="1300"/>
                        <a:t>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bro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;</a:t>
                      </a:r>
                      <a:endParaRPr lang="sr-Latn-RS" sz="1300" dirty="0"/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 err="1"/>
                        <a:t>Donoše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cional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cionog</a:t>
                      </a:r>
                      <a:r>
                        <a:rPr lang="en-US" sz="1300" dirty="0"/>
                        <a:t> plana za </a:t>
                      </a:r>
                      <a:r>
                        <a:rPr lang="en-US" sz="1300" dirty="0" err="1"/>
                        <a:t>zel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, po </a:t>
                      </a:r>
                      <a:r>
                        <a:rPr lang="en-US" sz="1300" dirty="0" err="1"/>
                        <a:t>ugled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</a:t>
                      </a:r>
                      <a:r>
                        <a:rPr lang="en-US" sz="1300" dirty="0"/>
                        <a:t> EU, </a:t>
                      </a:r>
                      <a:r>
                        <a:rPr lang="en-US" sz="1300" dirty="0" err="1"/>
                        <a:t>uz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ntinuira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aće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mplementacije</a:t>
                      </a:r>
                      <a:r>
                        <a:rPr lang="en-US" sz="1300" dirty="0"/>
                        <a:t>;</a:t>
                      </a:r>
                      <a:endParaRPr lang="sr-Latn-RS" sz="1300" dirty="0"/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300" dirty="0" err="1"/>
                        <a:t>Postepe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već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bro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blasti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odnos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edmet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kojima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obavez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provođe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a</a:t>
                      </a:r>
                      <a:r>
                        <a:rPr lang="en-US" sz="1300" dirty="0"/>
                        <a:t> “</a:t>
                      </a:r>
                      <a:r>
                        <a:rPr lang="en-US" sz="1300" dirty="0" err="1"/>
                        <a:t>zele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riterijumima</a:t>
                      </a:r>
                      <a:r>
                        <a:rPr lang="en-US" sz="1300" dirty="0"/>
                        <a:t>”.</a:t>
                      </a:r>
                    </a:p>
                    <a:p>
                      <a:pPr algn="ctr"/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2321808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10779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D39BB19B-6C54-40DF-89F5-8B339842A5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887237"/>
              </p:ext>
            </p:extLst>
          </p:nvPr>
        </p:nvGraphicFramePr>
        <p:xfrm>
          <a:off x="381000" y="993706"/>
          <a:ext cx="8153400" cy="4953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153400">
                  <a:extLst>
                    <a:ext uri="{9D8B030D-6E8A-4147-A177-3AD203B41FA5}">
                      <a16:colId xmlns:a16="http://schemas.microsoft.com/office/drawing/2014/main" val="2908035690"/>
                    </a:ext>
                  </a:extLst>
                </a:gridCol>
              </a:tblGrid>
              <a:tr h="282644">
                <a:tc>
                  <a:txBody>
                    <a:bodyPr/>
                    <a:lstStyle/>
                    <a:p>
                      <a:r>
                        <a:rPr lang="en-US" sz="1400" dirty="0" err="1"/>
                        <a:t>Zakon</a:t>
                      </a:r>
                      <a:r>
                        <a:rPr lang="en-US" sz="1400" dirty="0"/>
                        <a:t> o </a:t>
                      </a:r>
                      <a:r>
                        <a:rPr lang="en-US" sz="1400" dirty="0" err="1"/>
                        <a:t>javno-privatnom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artnerstvu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koncesijama</a:t>
                      </a:r>
                      <a:r>
                        <a:rPr lang="en-US" sz="1400" dirty="0"/>
                        <a:t> („</a:t>
                      </a:r>
                      <a:r>
                        <a:rPr lang="en-US" sz="1400" dirty="0" err="1"/>
                        <a:t>Služben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glasnik</a:t>
                      </a:r>
                      <a:r>
                        <a:rPr lang="en-US" sz="1400" dirty="0"/>
                        <a:t> </a:t>
                      </a:r>
                      <a:r>
                        <a:rPr lang="sr-Latn-RS" sz="1400" dirty="0"/>
                        <a:t>RS</a:t>
                      </a:r>
                      <a:r>
                        <a:rPr lang="en-US" sz="1400" dirty="0"/>
                        <a:t>“ </a:t>
                      </a:r>
                      <a:r>
                        <a:rPr lang="en-US" sz="1400" dirty="0" err="1"/>
                        <a:t>br</a:t>
                      </a:r>
                      <a:r>
                        <a:rPr lang="sr-Latn-RS" sz="1400" dirty="0"/>
                        <a:t>.</a:t>
                      </a:r>
                      <a:r>
                        <a:rPr lang="en-US" sz="1400" dirty="0"/>
                        <a:t> 88/2011,</a:t>
                      </a:r>
                      <a:r>
                        <a:rPr lang="sr-Latn-RS" sz="1400" dirty="0"/>
                        <a:t> </a:t>
                      </a:r>
                      <a:r>
                        <a:rPr lang="en-US" sz="1400" dirty="0"/>
                        <a:t>15/2016 </a:t>
                      </a:r>
                      <a:r>
                        <a:rPr lang="en-US" sz="1400" dirty="0" err="1"/>
                        <a:t>i</a:t>
                      </a:r>
                      <a:r>
                        <a:rPr lang="en-US" sz="1400" dirty="0"/>
                        <a:t> 104/2016),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434526688"/>
                  </a:ext>
                </a:extLst>
              </a:tr>
            </a:tbl>
          </a:graphicData>
        </a:graphic>
      </p:graphicFrame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53378BEA-4CD9-4B9E-A352-CBB7B6D4F1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570068"/>
            <a:ext cx="3962400" cy="2168610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0636F47-288D-4709-A10B-8DAE663C87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614182"/>
              </p:ext>
            </p:extLst>
          </p:nvPr>
        </p:nvGraphicFramePr>
        <p:xfrm>
          <a:off x="381000" y="1570068"/>
          <a:ext cx="3962399" cy="216861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962399">
                  <a:extLst>
                    <a:ext uri="{9D8B030D-6E8A-4147-A177-3AD203B41FA5}">
                      <a16:colId xmlns:a16="http://schemas.microsoft.com/office/drawing/2014/main" val="3441566807"/>
                    </a:ext>
                  </a:extLst>
                </a:gridCol>
              </a:tblGrid>
              <a:tr h="2168610">
                <a:tc>
                  <a:txBody>
                    <a:bodyPr/>
                    <a:lstStyle/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P</a:t>
                      </a:r>
                      <a:r>
                        <a:rPr lang="en-US" sz="1300" dirty="0" err="1"/>
                        <a:t>ropisu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čel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štit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ka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da </a:t>
                      </a:r>
                      <a:r>
                        <a:rPr lang="en-US" sz="1300" dirty="0" err="1"/>
                        <a:t>predlog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donoše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ncesio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ta</a:t>
                      </a:r>
                      <a:r>
                        <a:rPr lang="en-US" sz="1300" dirty="0"/>
                        <a:t> (koji </a:t>
                      </a:r>
                      <a:r>
                        <a:rPr lang="en-US" sz="1300" dirty="0" err="1"/>
                        <a:t>pripre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dlež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telo</a:t>
                      </a:r>
                      <a:r>
                        <a:rPr lang="en-US" sz="1300" dirty="0"/>
                        <a:t>) </a:t>
                      </a:r>
                      <a:r>
                        <a:rPr lang="en-US" sz="1300" dirty="0" err="1"/>
                        <a:t>obavezn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adrž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datke</a:t>
                      </a:r>
                      <a:r>
                        <a:rPr lang="en-US" sz="1300" dirty="0"/>
                        <a:t> o </a:t>
                      </a:r>
                      <a:r>
                        <a:rPr lang="en-US" sz="1300" dirty="0" err="1"/>
                        <a:t>utica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ncesio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elatno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u</a:t>
                      </a:r>
                      <a:r>
                        <a:rPr lang="en-US" sz="1300" dirty="0"/>
                        <a:t>;</a:t>
                      </a:r>
                      <a:endParaRPr lang="sr-Latn-RS" sz="1300" dirty="0"/>
                    </a:p>
                    <a:p>
                      <a:pPr marL="285750" indent="-2857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Propisuje </a:t>
                      </a:r>
                      <a:r>
                        <a:rPr lang="en-US" sz="1300" dirty="0"/>
                        <a:t>da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d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nces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</a:t>
                      </a:r>
                      <a:r>
                        <a:rPr lang="en-US" sz="1300" dirty="0"/>
                        <a:t> partner </a:t>
                      </a:r>
                      <a:r>
                        <a:rPr lang="en-US" sz="1300" dirty="0" err="1"/>
                        <a:t>mož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vatno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artner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uze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a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tanovlje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govoro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vatni</a:t>
                      </a:r>
                      <a:r>
                        <a:rPr lang="en-US" sz="1300" dirty="0"/>
                        <a:t> partner </a:t>
                      </a:r>
                      <a:r>
                        <a:rPr lang="en-US" sz="1300" dirty="0" err="1"/>
                        <a:t>obavljanje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ncesio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elatnos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groža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dravl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ljudi</a:t>
                      </a:r>
                      <a:endParaRPr lang="en-US" sz="13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723207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31503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B2FF396C-248E-4F2B-95D5-34D326901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986016"/>
              </p:ext>
            </p:extLst>
          </p:nvPr>
        </p:nvGraphicFramePr>
        <p:xfrm>
          <a:off x="457200" y="1018699"/>
          <a:ext cx="8077200" cy="4953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077200">
                  <a:extLst>
                    <a:ext uri="{9D8B030D-6E8A-4147-A177-3AD203B41FA5}">
                      <a16:colId xmlns:a16="http://schemas.microsoft.com/office/drawing/2014/main" val="3686532220"/>
                    </a:ext>
                  </a:extLst>
                </a:gridCol>
              </a:tblGrid>
              <a:tr h="388620">
                <a:tc>
                  <a:txBody>
                    <a:bodyPr/>
                    <a:lstStyle/>
                    <a:p>
                      <a:r>
                        <a:rPr lang="en-US" sz="1400" dirty="0" err="1"/>
                        <a:t>Akcioni</a:t>
                      </a:r>
                      <a:r>
                        <a:rPr lang="en-US" sz="1400" dirty="0"/>
                        <a:t> plan za 2021. </a:t>
                      </a:r>
                      <a:r>
                        <a:rPr lang="en-US" sz="1400" dirty="0" err="1"/>
                        <a:t>godinu</a:t>
                      </a:r>
                      <a:r>
                        <a:rPr lang="en-US" sz="1400" dirty="0"/>
                        <a:t> za </a:t>
                      </a:r>
                      <a:r>
                        <a:rPr lang="en-US" sz="1400" dirty="0" err="1"/>
                        <a:t>sprovođenje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Program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razvoja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javnih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nabavki</a:t>
                      </a:r>
                      <a:r>
                        <a:rPr lang="en-US" sz="1400" dirty="0"/>
                        <a:t> u </a:t>
                      </a:r>
                      <a:r>
                        <a:rPr lang="en-US" sz="1400" dirty="0" err="1"/>
                        <a:t>Republici</a:t>
                      </a:r>
                      <a:r>
                        <a:rPr lang="en-US" sz="1400" dirty="0"/>
                        <a:t> </a:t>
                      </a:r>
                      <a:r>
                        <a:rPr lang="en-US" sz="1400" dirty="0" err="1"/>
                        <a:t>Srbiji</a:t>
                      </a:r>
                      <a:r>
                        <a:rPr lang="en-US" sz="1400" dirty="0"/>
                        <a:t> za period 2019-2023 („Sl. </a:t>
                      </a:r>
                      <a:r>
                        <a:rPr lang="en-US" sz="1400" dirty="0" err="1"/>
                        <a:t>glasnik</a:t>
                      </a:r>
                      <a:r>
                        <a:rPr lang="en-US" sz="1400" dirty="0"/>
                        <a:t> RS“, </a:t>
                      </a:r>
                      <a:r>
                        <a:rPr lang="en-US" sz="1400" dirty="0" err="1"/>
                        <a:t>broj</a:t>
                      </a:r>
                      <a:r>
                        <a:rPr lang="en-US" sz="1400" dirty="0"/>
                        <a:t> 46/2021).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11389473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B595F2-264B-4956-ACC4-F0B18B164A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389686"/>
              </p:ext>
            </p:extLst>
          </p:nvPr>
        </p:nvGraphicFramePr>
        <p:xfrm>
          <a:off x="1028700" y="1644037"/>
          <a:ext cx="7086600" cy="2278967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086600">
                  <a:extLst>
                    <a:ext uri="{9D8B030D-6E8A-4147-A177-3AD203B41FA5}">
                      <a16:colId xmlns:a16="http://schemas.microsoft.com/office/drawing/2014/main" val="2170471239"/>
                    </a:ext>
                  </a:extLst>
                </a:gridCol>
              </a:tblGrid>
              <a:tr h="2278967">
                <a:tc>
                  <a:txBody>
                    <a:bodyPr/>
                    <a:lstStyle/>
                    <a:p>
                      <a:pPr algn="just"/>
                      <a:r>
                        <a:rPr lang="sr-Latn-RS" sz="1300" dirty="0"/>
                        <a:t>U okviru Akcionog plana u pogledu zelenih javnih nabavki predviđeno je sledeće: </a:t>
                      </a:r>
                    </a:p>
                    <a:p>
                      <a:pPr algn="just"/>
                      <a:endParaRPr lang="sr-Latn-RS" sz="1300" dirty="0"/>
                    </a:p>
                    <a:p>
                      <a:pPr algn="just"/>
                      <a:r>
                        <a:rPr lang="en-US" sz="1300" dirty="0" err="1"/>
                        <a:t>Četvr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seban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cilj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Promovis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dstic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kološk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ocijaln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spekta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jav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a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novacijama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okvir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jeg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cilj</a:t>
                      </a:r>
                      <a:r>
                        <a:rPr lang="en-US" sz="1300" dirty="0"/>
                        <a:t> da </a:t>
                      </a:r>
                      <a:r>
                        <a:rPr lang="en-US" sz="1300" dirty="0" err="1"/>
                        <a:t>broj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provede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meno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kološk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riterijuma</a:t>
                      </a:r>
                      <a:r>
                        <a:rPr lang="en-US" sz="1300" dirty="0"/>
                        <a:t> u 2021. </a:t>
                      </a:r>
                      <a:r>
                        <a:rPr lang="en-US" sz="1300" dirty="0" err="1"/>
                        <a:t>godin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bude</a:t>
                      </a:r>
                      <a:r>
                        <a:rPr lang="en-US" sz="1300" dirty="0"/>
                        <a:t> 3, </a:t>
                      </a:r>
                      <a:r>
                        <a:rPr lang="en-US" sz="1300" dirty="0" err="1"/>
                        <a:t>pošt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e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dataka</a:t>
                      </a:r>
                      <a:r>
                        <a:rPr lang="en-US" sz="1300" dirty="0"/>
                        <a:t> za 2020. </a:t>
                      </a:r>
                      <a:r>
                        <a:rPr lang="en-US" sz="1300" dirty="0" err="1"/>
                        <a:t>godinu</a:t>
                      </a:r>
                      <a:r>
                        <a:rPr lang="en-US" sz="1300" dirty="0"/>
                        <a:t>.</a:t>
                      </a:r>
                      <a:endParaRPr lang="sr-Latn-RS" sz="1300" dirty="0"/>
                    </a:p>
                    <a:p>
                      <a:pPr algn="just"/>
                      <a:endParaRPr lang="sr-Latn-RS" sz="1300" dirty="0"/>
                    </a:p>
                    <a:p>
                      <a:pPr algn="just"/>
                      <a:r>
                        <a:rPr lang="en-US" sz="1300" dirty="0" err="1"/>
                        <a:t>Četvrt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mera</a:t>
                      </a:r>
                      <a:r>
                        <a:rPr lang="en-US" sz="1300" dirty="0"/>
                        <a:t> – </a:t>
                      </a:r>
                      <a:r>
                        <a:rPr lang="en-US" sz="1300" dirty="0" err="1"/>
                        <a:t>jač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dministrati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apacitet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dukacija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okvir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je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planira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zrad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moci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mernica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partnerstvo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inovacij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ka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omoci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ele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. </a:t>
                      </a:r>
                      <a:r>
                        <a:rPr lang="en-US" sz="1300" dirty="0" err="1"/>
                        <a:t>Rok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sprovođe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v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v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tivnosti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četvrt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vartal</a:t>
                      </a:r>
                      <a:r>
                        <a:rPr lang="en-US" sz="1300" dirty="0"/>
                        <a:t> 2021. </a:t>
                      </a:r>
                      <a:r>
                        <a:rPr lang="en-US" sz="1300" dirty="0" err="1"/>
                        <a:t>godine</a:t>
                      </a:r>
                      <a:r>
                        <a:rPr lang="en-US" sz="1300" dirty="0"/>
                        <a:t>. Pored toga </a:t>
                      </a:r>
                      <a:r>
                        <a:rPr lang="en-US" sz="1300" dirty="0" err="1"/>
                        <a:t>planiran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kontinuirao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rganizov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buka</a:t>
                      </a:r>
                      <a:r>
                        <a:rPr lang="en-US" sz="1300" dirty="0"/>
                        <a:t> za </a:t>
                      </a:r>
                      <a:r>
                        <a:rPr lang="en-US" sz="1300" dirty="0" err="1"/>
                        <a:t>naručioc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ponuđač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mikro</a:t>
                      </a:r>
                      <a:r>
                        <a:rPr lang="en-US" sz="1300" dirty="0"/>
                        <a:t>, mala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n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eduzeća</a:t>
                      </a:r>
                      <a:r>
                        <a:rPr lang="en-US" sz="1300" dirty="0"/>
                        <a:t>.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321001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5051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09385" y="423161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412874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99710E5-2920-46CF-B651-501C7F2D2C8D}"/>
              </a:ext>
            </a:extLst>
          </p:cNvPr>
          <p:cNvSpPr txBox="1"/>
          <p:nvPr/>
        </p:nvSpPr>
        <p:spPr>
          <a:xfrm>
            <a:off x="2204896" y="965520"/>
            <a:ext cx="4743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900"/>
              </a:spcAft>
            </a:pPr>
            <a:r>
              <a:rPr lang="sr-Latn-RS" sz="3000" b="1" dirty="0">
                <a:solidFill>
                  <a:srgbClr val="92D050"/>
                </a:solidFill>
                <a:latin typeface="Candara" panose="020E0502030303020204" pitchFamily="34" charset="0"/>
              </a:rPr>
              <a:t>III deo: EU praksa</a:t>
            </a:r>
            <a:endParaRPr lang="en-US" sz="3000" b="1" dirty="0">
              <a:solidFill>
                <a:srgbClr val="92D050"/>
              </a:solidFill>
              <a:latin typeface="Candara" panose="020E0502030303020204" pitchFamily="34" charset="0"/>
            </a:endParaRPr>
          </a:p>
        </p:txBody>
      </p: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A98EA349-1EF7-4F05-A0D9-FB48EB58342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27"/>
          <a:stretch/>
        </p:blipFill>
        <p:spPr>
          <a:xfrm>
            <a:off x="2076785" y="1519518"/>
            <a:ext cx="4871561" cy="2591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2932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4B849A1B-042C-423E-9C38-A105CE21103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20" b="50000"/>
          <a:stretch/>
        </p:blipFill>
        <p:spPr>
          <a:xfrm>
            <a:off x="1100503" y="955119"/>
            <a:ext cx="6732714" cy="13433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CA26DDD-486C-435E-9308-34FF1EA3A806}"/>
              </a:ext>
            </a:extLst>
          </p:cNvPr>
          <p:cNvSpPr txBox="1"/>
          <p:nvPr/>
        </p:nvSpPr>
        <p:spPr>
          <a:xfrm>
            <a:off x="2640258" y="1676611"/>
            <a:ext cx="3771900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875" b="1" dirty="0">
                <a:solidFill>
                  <a:schemeClr val="bg1"/>
                </a:solidFill>
              </a:rPr>
              <a:t>ZAKONODAVSTVO EVROPSKE UNIJE</a:t>
            </a:r>
            <a:endParaRPr lang="en-US" sz="1875" b="1" dirty="0">
              <a:solidFill>
                <a:schemeClr val="bg1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D4E1D7D9-5FD1-4032-B291-6F7C5939D2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0504797"/>
              </p:ext>
            </p:extLst>
          </p:nvPr>
        </p:nvGraphicFramePr>
        <p:xfrm>
          <a:off x="4666592" y="2346025"/>
          <a:ext cx="3144791" cy="157697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144791">
                  <a:extLst>
                    <a:ext uri="{9D8B030D-6E8A-4147-A177-3AD203B41FA5}">
                      <a16:colId xmlns:a16="http://schemas.microsoft.com/office/drawing/2014/main" val="3062087342"/>
                    </a:ext>
                  </a:extLst>
                </a:gridCol>
              </a:tblGrid>
              <a:tr h="1576979">
                <a:tc>
                  <a:txBody>
                    <a:bodyPr/>
                    <a:lstStyle/>
                    <a:p>
                      <a:pPr algn="ctr"/>
                      <a:r>
                        <a:rPr lang="sr-Latn-RS" sz="1200" b="1" dirty="0"/>
                        <a:t>Okvirna politika:</a:t>
                      </a:r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sr-Latn-RS" sz="1200" dirty="0"/>
                        <a:t>„Public procurement for a better environment“;</a:t>
                      </a:r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sr-Latn-RS" sz="1200" dirty="0"/>
                        <a:t>Strateška politika EU (The European Green Deal, </a:t>
                      </a:r>
                      <a:r>
                        <a:rPr lang="en-US" sz="1200" dirty="0"/>
                        <a:t>The 2030 Agenda – Sustainable Development Goals</a:t>
                      </a:r>
                      <a:r>
                        <a:rPr lang="sr-Latn-RS" sz="1200" dirty="0"/>
                        <a:t>...)</a:t>
                      </a:r>
                      <a:endParaRPr lang="en-US" sz="1200" dirty="0"/>
                    </a:p>
                    <a:p>
                      <a:pPr marL="285750" indent="-285750" algn="l">
                        <a:buClr>
                          <a:schemeClr val="accent3"/>
                        </a:buClr>
                        <a:buFont typeface="Wingdings" panose="05000000000000000000" pitchFamily="2" charset="2"/>
                        <a:buChar char="Ø"/>
                      </a:pPr>
                      <a:endParaRPr lang="sr-Latn-RS" sz="1200" dirty="0"/>
                    </a:p>
                    <a:p>
                      <a:pPr marL="285750" indent="-285750" algn="l">
                        <a:buClr>
                          <a:schemeClr val="accent3"/>
                        </a:buClr>
                        <a:buFont typeface="Wingdings" panose="05000000000000000000" pitchFamily="2" charset="2"/>
                        <a:buChar char="Ø"/>
                      </a:pPr>
                      <a:endParaRPr lang="sr-Latn-R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23231147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E995BC4-6D37-4BBF-B861-D5D7F9CA8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369153"/>
              </p:ext>
            </p:extLst>
          </p:nvPr>
        </p:nvGraphicFramePr>
        <p:xfrm>
          <a:off x="1100502" y="2347130"/>
          <a:ext cx="3376908" cy="1580633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376908">
                  <a:extLst>
                    <a:ext uri="{9D8B030D-6E8A-4147-A177-3AD203B41FA5}">
                      <a16:colId xmlns:a16="http://schemas.microsoft.com/office/drawing/2014/main" val="3698816150"/>
                    </a:ext>
                  </a:extLst>
                </a:gridCol>
              </a:tblGrid>
              <a:tr h="1580633">
                <a:tc>
                  <a:txBody>
                    <a:bodyPr/>
                    <a:lstStyle/>
                    <a:p>
                      <a:pPr algn="ctr"/>
                      <a:r>
                        <a:rPr lang="sr-Latn-RS" sz="1200" b="1" dirty="0"/>
                        <a:t>Pravni okvir: </a:t>
                      </a:r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200" b="0" dirty="0" err="1"/>
                        <a:t>Direktiva</a:t>
                      </a:r>
                      <a:r>
                        <a:rPr lang="en-US" sz="1200" b="0" dirty="0"/>
                        <a:t> o </a:t>
                      </a:r>
                      <a:r>
                        <a:rPr lang="en-US" sz="1200" b="0" dirty="0" err="1"/>
                        <a:t>nabavkama</a:t>
                      </a:r>
                      <a:r>
                        <a:rPr lang="en-US" sz="1200" b="0" dirty="0"/>
                        <a:t> (2014/24/ EU </a:t>
                      </a:r>
                      <a:r>
                        <a:rPr lang="en-US" sz="1200" b="0" dirty="0" err="1"/>
                        <a:t>i</a:t>
                      </a:r>
                      <a:r>
                        <a:rPr lang="en-US" sz="1200" b="0" dirty="0"/>
                        <a:t> 2014/25/EU);</a:t>
                      </a:r>
                      <a:endParaRPr lang="sr-Latn-RS" sz="1200" b="0" dirty="0"/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200" b="0" dirty="0" err="1"/>
                        <a:t>Ugovori</a:t>
                      </a:r>
                      <a:r>
                        <a:rPr lang="en-US" sz="1200" b="0" dirty="0"/>
                        <a:t> (</a:t>
                      </a:r>
                      <a:r>
                        <a:rPr lang="en-US" sz="1200" b="0" dirty="0" err="1"/>
                        <a:t>Ugovor</a:t>
                      </a:r>
                      <a:r>
                        <a:rPr lang="en-US" sz="1200" b="0" dirty="0"/>
                        <a:t> o </a:t>
                      </a:r>
                      <a:r>
                        <a:rPr lang="en-US" sz="1200" b="0" dirty="0" err="1"/>
                        <a:t>funkcionisanju</a:t>
                      </a:r>
                      <a:r>
                        <a:rPr lang="en-US" sz="1200" b="0" dirty="0"/>
                        <a:t> EU </a:t>
                      </a:r>
                      <a:r>
                        <a:rPr lang="en-US" sz="1200" b="0" dirty="0" err="1"/>
                        <a:t>i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njenih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prethodnika</a:t>
                      </a:r>
                      <a:r>
                        <a:rPr lang="en-US" sz="1200" b="0" dirty="0"/>
                        <a:t>);</a:t>
                      </a:r>
                      <a:endParaRPr lang="sr-Latn-RS" sz="1200" b="0" dirty="0"/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200" b="0" dirty="0" err="1"/>
                        <a:t>Sudska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praksa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Evropskog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suda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pravde</a:t>
                      </a:r>
                      <a:r>
                        <a:rPr lang="en-US" sz="1200" b="0" dirty="0"/>
                        <a:t>;</a:t>
                      </a:r>
                      <a:endParaRPr lang="sr-Latn-RS" sz="1200" b="0" dirty="0"/>
                    </a:p>
                    <a:p>
                      <a:pPr marL="285750" indent="-285750" algn="l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en-US" sz="1200" b="0" dirty="0" err="1"/>
                        <a:t>Pravni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akti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srodnih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područja</a:t>
                      </a:r>
                      <a:r>
                        <a:rPr lang="en-US" sz="1200" b="0" dirty="0"/>
                        <a:t> koji se </a:t>
                      </a:r>
                      <a:r>
                        <a:rPr lang="en-US" sz="1200" b="0" dirty="0" err="1"/>
                        <a:t>primenjuju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na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postupke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javnih</a:t>
                      </a:r>
                      <a:r>
                        <a:rPr lang="en-US" sz="1200" b="0" dirty="0"/>
                        <a:t> </a:t>
                      </a:r>
                      <a:r>
                        <a:rPr lang="en-US" sz="1200" b="0" dirty="0" err="1"/>
                        <a:t>nabavki</a:t>
                      </a:r>
                      <a:r>
                        <a:rPr lang="en-US" sz="1200" b="0" dirty="0"/>
                        <a:t>.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302797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41604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E183B19-E7AB-4A3E-989A-5D8F2B2832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516535"/>
              </p:ext>
            </p:extLst>
          </p:nvPr>
        </p:nvGraphicFramePr>
        <p:xfrm>
          <a:off x="838200" y="1033977"/>
          <a:ext cx="7162799" cy="1023424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162799">
                  <a:extLst>
                    <a:ext uri="{9D8B030D-6E8A-4147-A177-3AD203B41FA5}">
                      <a16:colId xmlns:a16="http://schemas.microsoft.com/office/drawing/2014/main" val="2989273111"/>
                    </a:ext>
                  </a:extLst>
                </a:gridCol>
              </a:tblGrid>
              <a:tr h="1023424">
                <a:tc>
                  <a:txBody>
                    <a:bodyPr/>
                    <a:lstStyle/>
                    <a:p>
                      <a:pPr algn="just"/>
                      <a:r>
                        <a:rPr lang="en-US" sz="1300" dirty="0" err="1"/>
                        <a:t>Pre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efinicij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vrops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komisij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zel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edstavlja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b="1" dirty="0"/>
                        <a:t>„</a:t>
                      </a:r>
                      <a:r>
                        <a:rPr lang="en-US" sz="1300" b="1" dirty="0" err="1"/>
                        <a:t>proces</a:t>
                      </a:r>
                      <a:r>
                        <a:rPr lang="en-US" sz="1300" b="1" dirty="0"/>
                        <a:t> u </a:t>
                      </a:r>
                      <a:r>
                        <a:rPr lang="en-US" sz="1300" b="1" dirty="0" err="1"/>
                        <a:t>kojem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naručioci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kupuju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takva</a:t>
                      </a:r>
                      <a:r>
                        <a:rPr lang="en-US" sz="1300" b="1" dirty="0"/>
                        <a:t> dobra, </a:t>
                      </a:r>
                      <a:r>
                        <a:rPr lang="en-US" sz="1300" b="1" dirty="0" err="1"/>
                        <a:t>usluge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i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radove</a:t>
                      </a:r>
                      <a:r>
                        <a:rPr lang="en-US" sz="1300" b="1" dirty="0"/>
                        <a:t> koji </a:t>
                      </a:r>
                      <a:r>
                        <a:rPr lang="en-US" sz="1300" b="1" dirty="0" err="1"/>
                        <a:t>imaju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manji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negativni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uticaj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na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životnu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sredinu</a:t>
                      </a:r>
                      <a:r>
                        <a:rPr lang="en-US" sz="1300" b="1" dirty="0"/>
                        <a:t> u </a:t>
                      </a:r>
                      <a:r>
                        <a:rPr lang="en-US" sz="1300" b="1" dirty="0" err="1"/>
                        <a:t>celokupnom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životnom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ciklusu</a:t>
                      </a:r>
                      <a:r>
                        <a:rPr lang="en-US" sz="1300" b="1" dirty="0"/>
                        <a:t> u </a:t>
                      </a:r>
                      <a:r>
                        <a:rPr lang="en-US" sz="1300" b="1" dirty="0" err="1"/>
                        <a:t>odnosu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na</a:t>
                      </a:r>
                      <a:r>
                        <a:rPr lang="en-US" sz="1300" b="1" dirty="0"/>
                        <a:t> dobra </a:t>
                      </a:r>
                      <a:r>
                        <a:rPr lang="en-US" sz="1300" b="1" dirty="0" err="1"/>
                        <a:t>i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usluge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koje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bismo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inače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kupili</a:t>
                      </a:r>
                      <a:r>
                        <a:rPr lang="en-US" sz="1300" b="1" dirty="0"/>
                        <a:t>, a koji </a:t>
                      </a:r>
                      <a:r>
                        <a:rPr lang="en-US" sz="1300" b="1" dirty="0" err="1"/>
                        <a:t>imaju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iste</a:t>
                      </a:r>
                      <a:r>
                        <a:rPr lang="en-US" sz="1300" b="1" dirty="0"/>
                        <a:t> </a:t>
                      </a:r>
                      <a:r>
                        <a:rPr lang="en-US" sz="1300" b="1" dirty="0" err="1"/>
                        <a:t>funkcije</a:t>
                      </a:r>
                      <a:r>
                        <a:rPr lang="en-US" sz="1300" b="1" dirty="0"/>
                        <a:t>.”</a:t>
                      </a:r>
                      <a:r>
                        <a:rPr lang="en-US" sz="1300" dirty="0"/>
                        <a:t>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08815478"/>
                  </a:ext>
                </a:extLst>
              </a:tr>
            </a:tbl>
          </a:graphicData>
        </a:graphic>
      </p:graphicFrame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CE06541-B643-41C6-8689-2F2214A1BB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50412" y="2434215"/>
            <a:ext cx="1243176" cy="6215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9019118-03F8-4EA6-8FD7-3C88014634BA}"/>
              </a:ext>
            </a:extLst>
          </p:cNvPr>
          <p:cNvSpPr txBox="1"/>
          <p:nvPr/>
        </p:nvSpPr>
        <p:spPr>
          <a:xfrm>
            <a:off x="1428750" y="3234914"/>
            <a:ext cx="634365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 err="1"/>
              <a:t>Uticaj</a:t>
            </a:r>
            <a:r>
              <a:rPr lang="en-US" sz="1300" dirty="0"/>
              <a:t> koji </a:t>
            </a:r>
            <a:r>
              <a:rPr lang="en-US" sz="1300" dirty="0" err="1"/>
              <a:t>javne</a:t>
            </a:r>
            <a:r>
              <a:rPr lang="en-US" sz="1300" dirty="0"/>
              <a:t> </a:t>
            </a:r>
            <a:r>
              <a:rPr lang="en-US" sz="1300" dirty="0" err="1"/>
              <a:t>nabavke</a:t>
            </a:r>
            <a:r>
              <a:rPr lang="en-US" sz="1300" dirty="0"/>
              <a:t> </a:t>
            </a:r>
            <a:r>
              <a:rPr lang="en-US" sz="1300" dirty="0" err="1"/>
              <a:t>imaju</a:t>
            </a:r>
            <a:r>
              <a:rPr lang="en-US" sz="1300" dirty="0"/>
              <a:t> </a:t>
            </a:r>
            <a:r>
              <a:rPr lang="en-US" sz="1300" dirty="0" err="1"/>
              <a:t>na</a:t>
            </a:r>
            <a:r>
              <a:rPr lang="en-US" sz="1300" dirty="0"/>
              <a:t> </a:t>
            </a:r>
            <a:r>
              <a:rPr lang="en-US" sz="1300" dirty="0" err="1"/>
              <a:t>životnu</a:t>
            </a:r>
            <a:r>
              <a:rPr lang="en-US" sz="1300" dirty="0"/>
              <a:t> </a:t>
            </a:r>
            <a:r>
              <a:rPr lang="en-US" sz="1300" dirty="0" err="1"/>
              <a:t>sredinu</a:t>
            </a:r>
            <a:r>
              <a:rPr lang="en-US" sz="1300" dirty="0"/>
              <a:t> </a:t>
            </a:r>
            <a:r>
              <a:rPr lang="en-US" sz="1300" dirty="0" err="1"/>
              <a:t>zavise</a:t>
            </a:r>
            <a:r>
              <a:rPr lang="en-US" sz="1300" dirty="0"/>
              <a:t> od </a:t>
            </a:r>
            <a:r>
              <a:rPr lang="en-US" sz="1300" dirty="0" err="1"/>
              <a:t>strukture</a:t>
            </a:r>
            <a:r>
              <a:rPr lang="en-US" sz="1300" dirty="0"/>
              <a:t>, </a:t>
            </a:r>
            <a:r>
              <a:rPr lang="en-US" sz="1300" dirty="0" err="1"/>
              <a:t>karakteristika</a:t>
            </a:r>
            <a:r>
              <a:rPr lang="en-US" sz="1300" dirty="0"/>
              <a:t>, </a:t>
            </a:r>
            <a:r>
              <a:rPr lang="en-US" sz="1300" dirty="0" err="1"/>
              <a:t>načina</a:t>
            </a:r>
            <a:r>
              <a:rPr lang="en-US" sz="1300" dirty="0"/>
              <a:t> </a:t>
            </a:r>
            <a:r>
              <a:rPr lang="en-US" sz="1300" dirty="0" err="1"/>
              <a:t>proizvodnje</a:t>
            </a:r>
            <a:r>
              <a:rPr lang="en-US" sz="1300" dirty="0"/>
              <a:t>, </a:t>
            </a:r>
            <a:r>
              <a:rPr lang="en-US" sz="1300" dirty="0" err="1"/>
              <a:t>isporuke</a:t>
            </a:r>
            <a:r>
              <a:rPr lang="en-US" sz="1300" dirty="0"/>
              <a:t>, </a:t>
            </a:r>
            <a:r>
              <a:rPr lang="en-US" sz="1300" dirty="0" err="1"/>
              <a:t>ugradnje</a:t>
            </a:r>
            <a:r>
              <a:rPr lang="en-US" sz="1300" dirty="0"/>
              <a:t>, </a:t>
            </a:r>
            <a:r>
              <a:rPr lang="en-US" sz="1300" dirty="0" err="1"/>
              <a:t>upotrebe</a:t>
            </a:r>
            <a:r>
              <a:rPr lang="en-US" sz="1300" dirty="0"/>
              <a:t>, </a:t>
            </a:r>
            <a:r>
              <a:rPr lang="en-US" sz="1300" dirty="0" err="1"/>
              <a:t>razgradnje</a:t>
            </a:r>
            <a:r>
              <a:rPr lang="en-US" sz="1300" dirty="0"/>
              <a:t>, </a:t>
            </a:r>
            <a:r>
              <a:rPr lang="en-US" sz="1300" dirty="0" err="1"/>
              <a:t>odnosno</a:t>
            </a:r>
            <a:r>
              <a:rPr lang="en-US" sz="1300" dirty="0"/>
              <a:t> </a:t>
            </a:r>
            <a:r>
              <a:rPr lang="en-US" sz="1300" dirty="0" err="1"/>
              <a:t>reciklaže</a:t>
            </a:r>
            <a:r>
              <a:rPr lang="en-US" sz="1300" dirty="0"/>
              <a:t> </a:t>
            </a:r>
            <a:r>
              <a:rPr lang="en-US" sz="1300" dirty="0" err="1"/>
              <a:t>dobara</a:t>
            </a:r>
            <a:r>
              <a:rPr lang="en-US" sz="1300" dirty="0"/>
              <a:t>, </a:t>
            </a:r>
            <a:r>
              <a:rPr lang="en-US" sz="1300" dirty="0" err="1"/>
              <a:t>usluga</a:t>
            </a:r>
            <a:r>
              <a:rPr lang="en-US" sz="1300" dirty="0"/>
              <a:t> </a:t>
            </a:r>
            <a:r>
              <a:rPr lang="en-US" sz="1300" dirty="0" err="1"/>
              <a:t>ili</a:t>
            </a:r>
            <a:r>
              <a:rPr lang="en-US" sz="1300" dirty="0"/>
              <a:t> </a:t>
            </a:r>
            <a:r>
              <a:rPr lang="en-US" sz="1300" dirty="0" err="1"/>
              <a:t>radova</a:t>
            </a:r>
            <a:r>
              <a:rPr lang="en-US" sz="1300" dirty="0"/>
              <a:t> </a:t>
            </a:r>
            <a:r>
              <a:rPr lang="en-US" sz="1300" dirty="0" err="1"/>
              <a:t>i</a:t>
            </a:r>
            <a:r>
              <a:rPr lang="en-US" sz="1300" dirty="0"/>
              <a:t> </a:t>
            </a:r>
            <a:r>
              <a:rPr lang="en-US" sz="1300" dirty="0" err="1"/>
              <a:t>međusobno</a:t>
            </a:r>
            <a:r>
              <a:rPr lang="en-US" sz="1300" dirty="0"/>
              <a:t> se </a:t>
            </a:r>
            <a:r>
              <a:rPr lang="en-US" sz="1300" dirty="0" err="1"/>
              <a:t>razlikuju</a:t>
            </a:r>
            <a:r>
              <a:rPr lang="en-US" sz="13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085519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422F74F-F71A-4EE1-820B-B075507270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729721"/>
              </p:ext>
            </p:extLst>
          </p:nvPr>
        </p:nvGraphicFramePr>
        <p:xfrm>
          <a:off x="685800" y="950669"/>
          <a:ext cx="7620000" cy="46482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620000">
                  <a:extLst>
                    <a:ext uri="{9D8B030D-6E8A-4147-A177-3AD203B41FA5}">
                      <a16:colId xmlns:a16="http://schemas.microsoft.com/office/drawing/2014/main" val="1939981261"/>
                    </a:ext>
                  </a:extLst>
                </a:gridCol>
              </a:tblGrid>
              <a:tr h="388620">
                <a:tc>
                  <a:txBody>
                    <a:bodyPr/>
                    <a:lstStyle/>
                    <a:p>
                      <a:r>
                        <a:rPr lang="sr-Latn-RS" sz="1300" dirty="0"/>
                        <a:t>J</a:t>
                      </a:r>
                      <a:r>
                        <a:rPr lang="en-US" sz="1300" dirty="0" err="1"/>
                        <a:t>edinstven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mehanizmi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cil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manjen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egati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tica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životn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redinu</a:t>
                      </a:r>
                      <a:r>
                        <a:rPr lang="en-US" sz="1300" dirty="0"/>
                        <a:t> od </a:t>
                      </a:r>
                      <a:r>
                        <a:rPr lang="en-US" sz="1300" dirty="0" err="1"/>
                        <a:t>zele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ahteva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ledeće</a:t>
                      </a:r>
                      <a:r>
                        <a:rPr lang="en-US" sz="1300" dirty="0"/>
                        <a:t>: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9648759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E8A2EBF-F5ED-47CC-8006-07096B1E6C20}"/>
              </a:ext>
            </a:extLst>
          </p:cNvPr>
          <p:cNvSpPr txBox="1"/>
          <p:nvPr/>
        </p:nvSpPr>
        <p:spPr>
          <a:xfrm>
            <a:off x="1139483" y="1474186"/>
            <a:ext cx="6865033" cy="2492990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Progresivnost</a:t>
            </a:r>
            <a:r>
              <a:rPr lang="en-US" sz="1200" dirty="0"/>
              <a:t> </a:t>
            </a:r>
            <a:r>
              <a:rPr lang="en-US" sz="1200" dirty="0" err="1"/>
              <a:t>energetske</a:t>
            </a:r>
            <a:r>
              <a:rPr lang="en-US" sz="1200" dirty="0"/>
              <a:t> </a:t>
            </a:r>
            <a:r>
              <a:rPr lang="en-US" sz="1200" dirty="0" err="1"/>
              <a:t>efikasnosti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proizvodnog</a:t>
            </a:r>
            <a:r>
              <a:rPr lang="en-US" sz="1200" dirty="0"/>
              <a:t> </a:t>
            </a:r>
            <a:r>
              <a:rPr lang="en-US" sz="1200" dirty="0" err="1"/>
              <a:t>procesa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Metodološki</a:t>
            </a:r>
            <a:r>
              <a:rPr lang="en-US" sz="1200" dirty="0"/>
              <a:t> </a:t>
            </a:r>
            <a:r>
              <a:rPr lang="en-US" sz="1200" dirty="0" err="1"/>
              <a:t>pristup</a:t>
            </a:r>
            <a:r>
              <a:rPr lang="en-US" sz="1200" dirty="0"/>
              <a:t> Life Cycle Costing (LCC) – </a:t>
            </a:r>
            <a:r>
              <a:rPr lang="en-US" sz="1200" dirty="0" err="1"/>
              <a:t>i</a:t>
            </a:r>
            <a:r>
              <a:rPr lang="en-US" sz="1200" dirty="0"/>
              <a:t> ne </a:t>
            </a:r>
            <a:r>
              <a:rPr lang="en-US" sz="1200" dirty="0" err="1"/>
              <a:t>samo</a:t>
            </a:r>
            <a:r>
              <a:rPr lang="en-US" sz="1200" dirty="0"/>
              <a:t> </a:t>
            </a:r>
            <a:r>
              <a:rPr lang="en-US" sz="1200" dirty="0" err="1"/>
              <a:t>prodajnu</a:t>
            </a:r>
            <a:r>
              <a:rPr lang="en-US" sz="1200" dirty="0"/>
              <a:t> </a:t>
            </a:r>
            <a:r>
              <a:rPr lang="en-US" sz="1200" dirty="0" err="1"/>
              <a:t>cenu</a:t>
            </a:r>
            <a:r>
              <a:rPr lang="en-US" sz="1200" dirty="0"/>
              <a:t>, </a:t>
            </a:r>
            <a:r>
              <a:rPr lang="en-US" sz="1200" dirty="0" err="1"/>
              <a:t>već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procenu</a:t>
            </a:r>
            <a:r>
              <a:rPr lang="en-US" sz="1200" dirty="0"/>
              <a:t> </a:t>
            </a:r>
            <a:r>
              <a:rPr lang="en-US" sz="1200" dirty="0" err="1"/>
              <a:t>troškova</a:t>
            </a:r>
            <a:r>
              <a:rPr lang="en-US" sz="1200" dirty="0"/>
              <a:t> koji </a:t>
            </a:r>
            <a:r>
              <a:rPr lang="en-US" sz="1200" dirty="0" err="1"/>
              <a:t>nastaju</a:t>
            </a:r>
            <a:r>
              <a:rPr lang="en-US" sz="1200" dirty="0"/>
              <a:t> </a:t>
            </a:r>
            <a:r>
              <a:rPr lang="en-US" sz="1200" dirty="0" err="1"/>
              <a:t>pri</a:t>
            </a:r>
            <a:r>
              <a:rPr lang="en-US" sz="1200" dirty="0"/>
              <a:t> </a:t>
            </a:r>
            <a:r>
              <a:rPr lang="sr-Latn-RS" sz="1200" dirty="0"/>
              <a:t>u</a:t>
            </a:r>
            <a:r>
              <a:rPr lang="en-US" sz="1200" dirty="0" err="1"/>
              <a:t>potrebi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posle</a:t>
            </a:r>
            <a:r>
              <a:rPr lang="en-US" sz="1200" dirty="0"/>
              <a:t> </a:t>
            </a:r>
            <a:r>
              <a:rPr lang="en-US" sz="1200" dirty="0" err="1"/>
              <a:t>upotrebe</a:t>
            </a:r>
            <a:r>
              <a:rPr lang="en-US" sz="1200" dirty="0"/>
              <a:t> </a:t>
            </a:r>
            <a:r>
              <a:rPr lang="en-US" sz="1200" dirty="0" err="1"/>
              <a:t>proizvoda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Upotreba</a:t>
            </a:r>
            <a:r>
              <a:rPr lang="en-US" sz="1200" dirty="0"/>
              <a:t> </a:t>
            </a:r>
            <a:r>
              <a:rPr lang="en-US" sz="1200" dirty="0" err="1"/>
              <a:t>obnovljivih</a:t>
            </a:r>
            <a:r>
              <a:rPr lang="en-US" sz="1200" dirty="0"/>
              <a:t> </a:t>
            </a:r>
            <a:r>
              <a:rPr lang="en-US" sz="1200" dirty="0" err="1"/>
              <a:t>izvora</a:t>
            </a:r>
            <a:r>
              <a:rPr lang="en-US" sz="1200" dirty="0"/>
              <a:t> </a:t>
            </a:r>
            <a:r>
              <a:rPr lang="en-US" sz="1200" dirty="0" err="1"/>
              <a:t>energije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energije</a:t>
            </a:r>
            <a:r>
              <a:rPr lang="en-US" sz="1200" dirty="0"/>
              <a:t> </a:t>
            </a:r>
            <a:r>
              <a:rPr lang="en-US" sz="1200" dirty="0" err="1"/>
              <a:t>iz</a:t>
            </a:r>
            <a:r>
              <a:rPr lang="en-US" sz="1200" dirty="0"/>
              <a:t> </a:t>
            </a:r>
            <a:r>
              <a:rPr lang="en-US" sz="1200" dirty="0" err="1"/>
              <a:t>saproizvodnje</a:t>
            </a:r>
            <a:r>
              <a:rPr lang="en-US" sz="1200" dirty="0"/>
              <a:t> </a:t>
            </a:r>
            <a:r>
              <a:rPr lang="en-US" sz="1200" dirty="0" err="1"/>
              <a:t>sa</a:t>
            </a:r>
            <a:r>
              <a:rPr lang="en-US" sz="1200" dirty="0"/>
              <a:t> </a:t>
            </a:r>
            <a:r>
              <a:rPr lang="en-US" sz="1200" dirty="0" err="1"/>
              <a:t>visokim</a:t>
            </a:r>
            <a:r>
              <a:rPr lang="en-US" sz="1200" dirty="0"/>
              <a:t> </a:t>
            </a:r>
            <a:r>
              <a:rPr lang="en-US" sz="1200" dirty="0" err="1"/>
              <a:t>korišćenjem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Upotreba</a:t>
            </a:r>
            <a:r>
              <a:rPr lang="en-US" sz="1200" dirty="0"/>
              <a:t> </a:t>
            </a:r>
            <a:r>
              <a:rPr lang="en-US" sz="1200" dirty="0" err="1"/>
              <a:t>obnovljivih</a:t>
            </a:r>
            <a:r>
              <a:rPr lang="en-US" sz="1200" dirty="0"/>
              <a:t> </a:t>
            </a:r>
            <a:r>
              <a:rPr lang="en-US" sz="1200" dirty="0" err="1"/>
              <a:t>neotrovnih</a:t>
            </a:r>
            <a:r>
              <a:rPr lang="en-US" sz="1200" dirty="0"/>
              <a:t> </a:t>
            </a:r>
            <a:r>
              <a:rPr lang="en-US" sz="1200" dirty="0" err="1"/>
              <a:t>materijala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Upotreba</a:t>
            </a:r>
            <a:r>
              <a:rPr lang="en-US" sz="1200" dirty="0"/>
              <a:t> </a:t>
            </a:r>
            <a:r>
              <a:rPr lang="en-US" sz="1200" dirty="0" err="1"/>
              <a:t>održivo</a:t>
            </a:r>
            <a:r>
              <a:rPr lang="en-US" sz="1200" dirty="0"/>
              <a:t> </a:t>
            </a:r>
            <a:r>
              <a:rPr lang="en-US" sz="1200" dirty="0" err="1"/>
              <a:t>prerađenih</a:t>
            </a:r>
            <a:r>
              <a:rPr lang="en-US" sz="1200" dirty="0"/>
              <a:t> </a:t>
            </a:r>
            <a:r>
              <a:rPr lang="en-US" sz="1200" dirty="0" err="1"/>
              <a:t>odnosno</a:t>
            </a:r>
            <a:r>
              <a:rPr lang="en-US" sz="1200" dirty="0"/>
              <a:t> </a:t>
            </a:r>
            <a:r>
              <a:rPr lang="en-US" sz="1200" dirty="0" err="1"/>
              <a:t>proizvedenih</a:t>
            </a:r>
            <a:r>
              <a:rPr lang="en-US" sz="1200" dirty="0"/>
              <a:t> </a:t>
            </a:r>
            <a:r>
              <a:rPr lang="en-US" sz="1200" dirty="0" err="1"/>
              <a:t>materijala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proizvoda</a:t>
            </a:r>
            <a:r>
              <a:rPr lang="en-US" sz="1200" dirty="0"/>
              <a:t>, </a:t>
            </a:r>
            <a:r>
              <a:rPr lang="en-US" sz="1200" dirty="0" err="1"/>
              <a:t>kao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štedljiva</a:t>
            </a:r>
            <a:r>
              <a:rPr lang="en-US" sz="1200" dirty="0"/>
              <a:t> </a:t>
            </a:r>
            <a:r>
              <a:rPr lang="en-US" sz="1200" dirty="0" err="1"/>
              <a:t>potrošnja</a:t>
            </a:r>
            <a:r>
              <a:rPr lang="en-US" sz="1200" dirty="0"/>
              <a:t> </a:t>
            </a:r>
            <a:r>
              <a:rPr lang="en-US" sz="1200" dirty="0" err="1"/>
              <a:t>prirodnih</a:t>
            </a:r>
            <a:r>
              <a:rPr lang="en-US" sz="1200" dirty="0"/>
              <a:t> </a:t>
            </a:r>
            <a:r>
              <a:rPr lang="en-US" sz="1200" dirty="0" err="1"/>
              <a:t>dobara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Primena</a:t>
            </a:r>
            <a:r>
              <a:rPr lang="en-US" sz="1200" dirty="0"/>
              <a:t> </a:t>
            </a:r>
            <a:r>
              <a:rPr lang="en-US" sz="1200" dirty="0" err="1"/>
              <a:t>visokokvalifikovanih</a:t>
            </a:r>
            <a:r>
              <a:rPr lang="en-US" sz="1200" dirty="0"/>
              <a:t> </a:t>
            </a:r>
            <a:r>
              <a:rPr lang="en-US" sz="1200" dirty="0" err="1"/>
              <a:t>tehnologija</a:t>
            </a:r>
            <a:r>
              <a:rPr lang="en-US" sz="1200" dirty="0"/>
              <a:t> za </a:t>
            </a:r>
            <a:r>
              <a:rPr lang="en-US" sz="1200" dirty="0" err="1"/>
              <a:t>štednju</a:t>
            </a:r>
            <a:r>
              <a:rPr lang="en-US" sz="1200" dirty="0"/>
              <a:t> </a:t>
            </a:r>
            <a:r>
              <a:rPr lang="en-US" sz="1200" dirty="0" err="1"/>
              <a:t>vode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ponovno</a:t>
            </a:r>
            <a:r>
              <a:rPr lang="en-US" sz="1200" dirty="0"/>
              <a:t> </a:t>
            </a:r>
            <a:r>
              <a:rPr lang="en-US" sz="1200" dirty="0" err="1"/>
              <a:t>korišćenje</a:t>
            </a:r>
            <a:r>
              <a:rPr lang="en-US" sz="1200" dirty="0"/>
              <a:t> </a:t>
            </a:r>
            <a:r>
              <a:rPr lang="en-US" sz="1200" dirty="0" err="1"/>
              <a:t>vode</a:t>
            </a:r>
            <a:r>
              <a:rPr lang="en-US" sz="1200" dirty="0"/>
              <a:t> u </a:t>
            </a:r>
            <a:r>
              <a:rPr lang="en-US" sz="1200" dirty="0" err="1"/>
              <a:t>proizvodnji</a:t>
            </a:r>
            <a:r>
              <a:rPr lang="en-US" sz="1200" dirty="0"/>
              <a:t> </a:t>
            </a:r>
            <a:r>
              <a:rPr lang="en-US" sz="1200" dirty="0" err="1"/>
              <a:t>ili</a:t>
            </a:r>
            <a:r>
              <a:rPr lang="en-US" sz="1200" dirty="0"/>
              <a:t> </a:t>
            </a:r>
            <a:r>
              <a:rPr lang="en-US" sz="1200" dirty="0" err="1"/>
              <a:t>upotrebi</a:t>
            </a:r>
            <a:r>
              <a:rPr lang="en-US" sz="1200" dirty="0"/>
              <a:t> </a:t>
            </a:r>
            <a:r>
              <a:rPr lang="en-US" sz="1200" dirty="0" err="1"/>
              <a:t>predmeta</a:t>
            </a:r>
            <a:r>
              <a:rPr lang="en-US" sz="1200" dirty="0"/>
              <a:t> </a:t>
            </a:r>
            <a:r>
              <a:rPr lang="en-US" sz="1200" dirty="0" err="1"/>
              <a:t>nabavke</a:t>
            </a:r>
            <a:r>
              <a:rPr lang="en-US" sz="1200" dirty="0"/>
              <a:t> (</a:t>
            </a:r>
            <a:r>
              <a:rPr lang="en-US" sz="1200" dirty="0" err="1"/>
              <a:t>npr</a:t>
            </a:r>
            <a:r>
              <a:rPr lang="en-US" sz="1200" dirty="0"/>
              <a:t>. </a:t>
            </a:r>
            <a:r>
              <a:rPr lang="en-US" sz="1200" dirty="0" err="1"/>
              <a:t>upotreba</a:t>
            </a:r>
            <a:r>
              <a:rPr lang="en-US" sz="1200" dirty="0"/>
              <a:t> </a:t>
            </a:r>
            <a:r>
              <a:rPr lang="en-US" sz="1200" dirty="0" err="1"/>
              <a:t>kišnice</a:t>
            </a:r>
            <a:r>
              <a:rPr lang="en-US" sz="1200" dirty="0"/>
              <a:t> za </a:t>
            </a:r>
            <a:r>
              <a:rPr lang="en-US" sz="1200" dirty="0" err="1"/>
              <a:t>zalivanje</a:t>
            </a:r>
            <a:r>
              <a:rPr lang="en-US" sz="1200" dirty="0"/>
              <a:t> </a:t>
            </a:r>
            <a:r>
              <a:rPr lang="en-US" sz="1200" dirty="0" err="1"/>
              <a:t>zelenih</a:t>
            </a:r>
            <a:r>
              <a:rPr lang="en-US" sz="1200" dirty="0"/>
              <a:t> </a:t>
            </a:r>
            <a:r>
              <a:rPr lang="en-US" sz="1200" dirty="0" err="1"/>
              <a:t>površina</a:t>
            </a:r>
            <a:r>
              <a:rPr lang="en-US" sz="1200" dirty="0"/>
              <a:t>); 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Upotreba</a:t>
            </a:r>
            <a:r>
              <a:rPr lang="en-US" sz="1200" dirty="0"/>
              <a:t> </a:t>
            </a:r>
            <a:r>
              <a:rPr lang="en-US" sz="1200" dirty="0" err="1"/>
              <a:t>razgradivih</a:t>
            </a:r>
            <a:r>
              <a:rPr lang="en-US" sz="1200" dirty="0"/>
              <a:t> </a:t>
            </a:r>
            <a:r>
              <a:rPr lang="en-US" sz="1200" dirty="0" err="1"/>
              <a:t>materijala</a:t>
            </a:r>
            <a:r>
              <a:rPr lang="en-US" sz="1200" dirty="0"/>
              <a:t>, </a:t>
            </a:r>
            <a:r>
              <a:rPr lang="en-US" sz="1200" dirty="0" err="1"/>
              <a:t>proizoda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ambalaže</a:t>
            </a:r>
            <a:r>
              <a:rPr lang="en-US" sz="1200" dirty="0"/>
              <a:t> koji u </a:t>
            </a:r>
            <a:r>
              <a:rPr lang="en-US" sz="1200" dirty="0" err="1"/>
              <a:t>što</a:t>
            </a:r>
            <a:r>
              <a:rPr lang="en-US" sz="1200" dirty="0"/>
              <a:t> </a:t>
            </a:r>
            <a:r>
              <a:rPr lang="en-US" sz="1200" dirty="0" err="1"/>
              <a:t>manjoj</a:t>
            </a:r>
            <a:r>
              <a:rPr lang="en-US" sz="1200" dirty="0"/>
              <a:t> meri </a:t>
            </a:r>
            <a:r>
              <a:rPr lang="en-US" sz="1200" dirty="0" err="1"/>
              <a:t>zagađuju</a:t>
            </a:r>
            <a:r>
              <a:rPr lang="en-US" sz="1200" dirty="0"/>
              <a:t> </a:t>
            </a:r>
            <a:r>
              <a:rPr lang="en-US" sz="1200" dirty="0" err="1"/>
              <a:t>životnu</a:t>
            </a:r>
            <a:r>
              <a:rPr lang="en-US" sz="1200" dirty="0"/>
              <a:t> </a:t>
            </a:r>
            <a:r>
              <a:rPr lang="en-US" sz="1200" dirty="0" err="1"/>
              <a:t>sredinu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koji se </a:t>
            </a:r>
            <a:r>
              <a:rPr lang="en-US" sz="1200" dirty="0" err="1"/>
              <a:t>mogu</a:t>
            </a:r>
            <a:r>
              <a:rPr lang="en-US" sz="1200" dirty="0"/>
              <a:t> </a:t>
            </a:r>
            <a:r>
              <a:rPr lang="en-US" sz="1200" dirty="0" err="1"/>
              <a:t>više</a:t>
            </a:r>
            <a:r>
              <a:rPr lang="en-US" sz="1200" dirty="0"/>
              <a:t> puta </a:t>
            </a:r>
            <a:r>
              <a:rPr lang="en-US" sz="1200" dirty="0" err="1"/>
              <a:t>upotrebiti</a:t>
            </a:r>
            <a:r>
              <a:rPr lang="en-US" sz="1200" dirty="0"/>
              <a:t>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Uvažavanje</a:t>
            </a:r>
            <a:r>
              <a:rPr lang="en-US" sz="1200" dirty="0"/>
              <a:t> </a:t>
            </a:r>
            <a:r>
              <a:rPr lang="en-US" sz="1200" dirty="0" err="1"/>
              <a:t>emisija</a:t>
            </a:r>
            <a:r>
              <a:rPr lang="en-US" sz="1200" dirty="0"/>
              <a:t> buke;</a:t>
            </a:r>
            <a:endParaRPr lang="sr-Latn-RS" sz="1200" dirty="0"/>
          </a:p>
          <a:p>
            <a:pPr marL="214313" indent="-214313" algn="just"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en-US" sz="1200" dirty="0" err="1"/>
              <a:t>Niske</a:t>
            </a:r>
            <a:r>
              <a:rPr lang="en-US" sz="1200" dirty="0"/>
              <a:t> </a:t>
            </a:r>
            <a:r>
              <a:rPr lang="en-US" sz="1200" dirty="0" err="1"/>
              <a:t>emisije</a:t>
            </a:r>
            <a:r>
              <a:rPr lang="en-US" sz="1200" dirty="0"/>
              <a:t> CO2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drugih</a:t>
            </a:r>
            <a:r>
              <a:rPr lang="en-US" sz="1200" dirty="0"/>
              <a:t> </a:t>
            </a:r>
            <a:r>
              <a:rPr lang="en-US" sz="1200" dirty="0" err="1"/>
              <a:t>gasova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čestica</a:t>
            </a:r>
            <a:r>
              <a:rPr lang="en-US" sz="1200" dirty="0"/>
              <a:t> u </a:t>
            </a:r>
            <a:r>
              <a:rPr lang="en-US" sz="1200" dirty="0" err="1"/>
              <a:t>proizvodnji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upotrebi</a:t>
            </a:r>
            <a:r>
              <a:rPr lang="en-US" sz="1200" dirty="0"/>
              <a:t> </a:t>
            </a:r>
            <a:r>
              <a:rPr lang="en-US" sz="1200" dirty="0" err="1"/>
              <a:t>predmeta</a:t>
            </a:r>
            <a:r>
              <a:rPr lang="en-US" sz="1200" dirty="0"/>
              <a:t> </a:t>
            </a:r>
            <a:r>
              <a:rPr lang="en-US" sz="1200" dirty="0" err="1"/>
              <a:t>nabavke</a:t>
            </a:r>
            <a:r>
              <a:rPr lang="en-US" sz="12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304582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89173" y="433448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636" y="423161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98706AB2-264C-4B58-87FC-292A8DA91A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341332"/>
              </p:ext>
            </p:extLst>
          </p:nvPr>
        </p:nvGraphicFramePr>
        <p:xfrm>
          <a:off x="838200" y="900062"/>
          <a:ext cx="73914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391400">
                  <a:extLst>
                    <a:ext uri="{9D8B030D-6E8A-4147-A177-3AD203B41FA5}">
                      <a16:colId xmlns:a16="http://schemas.microsoft.com/office/drawing/2014/main" val="3153692390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sr-Latn-RS" sz="1400" dirty="0"/>
                        <a:t>EU GPP kriterijumi: 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9521818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6C62113-43A6-4D60-A98D-F4B2DFC8A2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7450368"/>
              </p:ext>
            </p:extLst>
          </p:nvPr>
        </p:nvGraphicFramePr>
        <p:xfrm>
          <a:off x="990600" y="1199876"/>
          <a:ext cx="3439551" cy="305562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439551">
                  <a:extLst>
                    <a:ext uri="{9D8B030D-6E8A-4147-A177-3AD203B41FA5}">
                      <a16:colId xmlns:a16="http://schemas.microsoft.com/office/drawing/2014/main" val="2565601093"/>
                    </a:ext>
                  </a:extLst>
                </a:gridCol>
              </a:tblGrid>
              <a:tr h="29489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Papir za štampanje i kopiranje;</a:t>
                      </a:r>
                    </a:p>
                    <a:p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Drumski saobraćaj (nabavka vozila)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Električna energij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Usluge čišćenja zatvorenih prostor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Računari, monitori, tableti i pametni telefoni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Nameštaj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Projektovanje, izgradnja i održavanje putev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Boje, lakovi i oznake na putu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Projektovanje i izgradnja poslovnih zgrada i upravljanje istim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ekstilni proizvodi i usluge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Usluge keteringa i automati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31296918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126D294-64BB-470C-BD2B-EE08C1E088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498465"/>
              </p:ext>
            </p:extLst>
          </p:nvPr>
        </p:nvGraphicFramePr>
        <p:xfrm>
          <a:off x="4713851" y="1199875"/>
          <a:ext cx="3386797" cy="305561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386797">
                  <a:extLst>
                    <a:ext uri="{9D8B030D-6E8A-4147-A177-3AD203B41FA5}">
                      <a16:colId xmlns:a16="http://schemas.microsoft.com/office/drawing/2014/main" val="2156264173"/>
                    </a:ext>
                  </a:extLst>
                </a:gridCol>
              </a:tblGrid>
              <a:tr h="30556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Toaleti i pisoari sa ispiranjem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Medicinska električna i elektronska oprema (medicinski EEO)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Prečišćavanje otpadnih vod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Grejači u vodovodnim sistemim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Osvetljenje puteva i saobraćajna signalizacij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Hrana, ugostiteljske usluge i prodajni automati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Data centri, serveri i cloud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Oprema za fotokopiranje, potrošni materijal i usluge štampanj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400" u="sng" strike="noStrike" kern="1200" dirty="0">
                          <a:solidFill>
                            <a:schemeClr val="dk1"/>
                          </a:solidFill>
                          <a:effectLst/>
                        </a:rPr>
                        <a:t>Održavanje javnih površina;</a:t>
                      </a:r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110056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72839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08548" y="4132528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636" y="3992150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9D5076FF-6FC0-4E87-BB99-A336FBCF99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202345"/>
              </p:ext>
            </p:extLst>
          </p:nvPr>
        </p:nvGraphicFramePr>
        <p:xfrm>
          <a:off x="914400" y="981716"/>
          <a:ext cx="73914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391400">
                  <a:extLst>
                    <a:ext uri="{9D8B030D-6E8A-4147-A177-3AD203B41FA5}">
                      <a16:colId xmlns:a16="http://schemas.microsoft.com/office/drawing/2014/main" val="1356824404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sr-Latn-RS" sz="1400" dirty="0"/>
                        <a:t>Nacionalni akcioni planovi (NAP)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739207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D4C3D31-3083-4501-9037-C2249BBBF7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0965749"/>
              </p:ext>
            </p:extLst>
          </p:nvPr>
        </p:nvGraphicFramePr>
        <p:xfrm>
          <a:off x="1137724" y="1327236"/>
          <a:ext cx="6868551" cy="87663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868551">
                  <a:extLst>
                    <a:ext uri="{9D8B030D-6E8A-4147-A177-3AD203B41FA5}">
                      <a16:colId xmlns:a16="http://schemas.microsoft.com/office/drawing/2014/main" val="3644525391"/>
                    </a:ext>
                  </a:extLst>
                </a:gridCol>
              </a:tblGrid>
              <a:tr h="876630">
                <a:tc>
                  <a:txBody>
                    <a:bodyPr/>
                    <a:lstStyle/>
                    <a:p>
                      <a:pPr algn="just"/>
                      <a:r>
                        <a:rPr lang="sr-Latn-RS" sz="1300" dirty="0"/>
                        <a:t>NAP </a:t>
                      </a:r>
                      <a:r>
                        <a:rPr lang="en-US" sz="1300" dirty="0"/>
                        <a:t>za </a:t>
                      </a:r>
                      <a:r>
                        <a:rPr lang="en-US" sz="1300" dirty="0" err="1"/>
                        <a:t>zel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već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tanovlje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aksa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država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članicam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vrops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nije</a:t>
                      </a:r>
                      <a:r>
                        <a:rPr lang="en-US" sz="1300" dirty="0"/>
                        <a:t>, </a:t>
                      </a:r>
                      <a:r>
                        <a:rPr lang="en-US" sz="1300" dirty="0" err="1"/>
                        <a:t>iako</a:t>
                      </a:r>
                      <a:r>
                        <a:rPr lang="en-US" sz="1300" dirty="0"/>
                        <a:t> je </a:t>
                      </a:r>
                      <a:r>
                        <a:rPr lang="en-US" sz="1300" dirty="0" err="1"/>
                        <a:t>usvajan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cional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lano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me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ele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obrovoljnoj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bazi</a:t>
                      </a:r>
                      <a:r>
                        <a:rPr lang="en-US" sz="1300" dirty="0"/>
                        <a:t>. </a:t>
                      </a:r>
                      <a:r>
                        <a:rPr lang="en-US" sz="1300" dirty="0" err="1"/>
                        <a:t>Ukupno</a:t>
                      </a:r>
                      <a:r>
                        <a:rPr lang="en-US" sz="1300" dirty="0"/>
                        <a:t> 23 </a:t>
                      </a:r>
                      <a:r>
                        <a:rPr lang="en-US" sz="1300" dirty="0" err="1"/>
                        <a:t>držav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članice</a:t>
                      </a:r>
                      <a:r>
                        <a:rPr lang="en-US" sz="1300" dirty="0"/>
                        <a:t> EU </a:t>
                      </a:r>
                      <a:r>
                        <a:rPr lang="en-US" sz="1300" dirty="0" err="1"/>
                        <a:t>ima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svojene</a:t>
                      </a:r>
                      <a:r>
                        <a:rPr lang="en-US" sz="1300" dirty="0"/>
                        <a:t> NAP za </a:t>
                      </a:r>
                      <a:r>
                        <a:rPr lang="en-US" sz="1300" dirty="0" err="1"/>
                        <a:t>zel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e</a:t>
                      </a:r>
                      <a:r>
                        <a:rPr lang="en-US" sz="1300" dirty="0"/>
                        <a:t>. </a:t>
                      </a:r>
                      <a:r>
                        <a:rPr lang="en-US" sz="1300" dirty="0" err="1"/>
                        <a:t>Države</a:t>
                      </a:r>
                      <a:r>
                        <a:rPr lang="en-US" sz="1300" dirty="0"/>
                        <a:t> time </a:t>
                      </a:r>
                      <a:r>
                        <a:rPr lang="en-US" sz="1300" dirty="0" err="1"/>
                        <a:t>pokazuj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govornost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osvećenost</a:t>
                      </a:r>
                      <a:r>
                        <a:rPr lang="en-US" sz="1300" dirty="0"/>
                        <a:t> u </a:t>
                      </a:r>
                      <a:r>
                        <a:rPr lang="en-US" sz="1300" dirty="0" err="1"/>
                        <a:t>pogledu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me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princip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rživo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razvoja</a:t>
                      </a:r>
                      <a:r>
                        <a:rPr lang="en-US" sz="1300" dirty="0"/>
                        <a:t>.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195755188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3B83458-F06C-464A-8280-3E8B47AEB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749423"/>
              </p:ext>
            </p:extLst>
          </p:nvPr>
        </p:nvGraphicFramePr>
        <p:xfrm>
          <a:off x="1132449" y="2282965"/>
          <a:ext cx="6868551" cy="1671109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2525151">
                  <a:extLst>
                    <a:ext uri="{9D8B030D-6E8A-4147-A177-3AD203B41FA5}">
                      <a16:colId xmlns:a16="http://schemas.microsoft.com/office/drawing/2014/main" val="2889768083"/>
                    </a:ext>
                  </a:extLst>
                </a:gridCol>
                <a:gridCol w="4343400">
                  <a:extLst>
                    <a:ext uri="{9D8B030D-6E8A-4147-A177-3AD203B41FA5}">
                      <a16:colId xmlns:a16="http://schemas.microsoft.com/office/drawing/2014/main" val="2166564944"/>
                    </a:ext>
                  </a:extLst>
                </a:gridCol>
              </a:tblGrid>
              <a:tr h="10334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Latn-RS" sz="1400" dirty="0">
                          <a:effectLst/>
                        </a:rPr>
                        <a:t>Države koje imaju NAP ili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Latn-RS" sz="1400" dirty="0">
                          <a:effectLst/>
                        </a:rPr>
                        <a:t>ekvivalentan dokument: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38" marR="71438" marT="71438" marB="71438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r-Latn-RS" sz="1400" dirty="0">
                          <a:effectLst/>
                        </a:rPr>
                        <a:t>Austrija, Belgija, Bugarska, Kipar, Češka, Danska, Finska, Francuska, Nemačka, Grčka, Irska, Italija, Letonija, Litvanija, Malta, Holandija, Hrvatska, Poljska, Portugal, Slovačka, Slovenija, Španija, Švedska;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38" marR="71438" marT="71438" marB="71438" anchor="ctr"/>
                </a:tc>
                <a:extLst>
                  <a:ext uri="{0D108BD9-81ED-4DB2-BD59-A6C34878D82A}">
                    <a16:rowId xmlns:a16="http://schemas.microsoft.com/office/drawing/2014/main" val="4050403853"/>
                  </a:ext>
                </a:extLst>
              </a:tr>
              <a:tr h="398314">
                <a:tc>
                  <a:txBody>
                    <a:bodyPr/>
                    <a:lstStyle/>
                    <a:p>
                      <a:pPr>
                        <a:lnSpc>
                          <a:spcPts val="1560"/>
                        </a:lnSpc>
                        <a:spcAft>
                          <a:spcPts val="800"/>
                        </a:spcAft>
                      </a:pP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effectLst/>
                        </a:rPr>
                        <a:t>Države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</a:rPr>
                        <a:t> </a:t>
                      </a: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effectLst/>
                        </a:rPr>
                        <a:t>koje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</a:rPr>
                        <a:t> </a:t>
                      </a:r>
                      <a:r>
                        <a:rPr lang="en-US" sz="1400" b="1" kern="1200" dirty="0" err="1">
                          <a:solidFill>
                            <a:schemeClr val="lt1"/>
                          </a:solidFill>
                          <a:effectLst/>
                        </a:rPr>
                        <a:t>nemaju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</a:rPr>
                        <a:t> NAP</a:t>
                      </a:r>
                      <a:endParaRPr lang="en-US" sz="1400" b="1" kern="1200" dirty="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38" marR="71438" marT="71438" marB="71438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ts val="1560"/>
                        </a:lnSpc>
                        <a:spcAft>
                          <a:spcPts val="800"/>
                        </a:spcAft>
                      </a:pPr>
                      <a:r>
                        <a:rPr lang="sr-Latn-RS" sz="1400" b="1" kern="1200" dirty="0">
                          <a:solidFill>
                            <a:schemeClr val="lt1"/>
                          </a:solidFill>
                          <a:effectLst/>
                        </a:rPr>
                        <a:t>Estonija, Mađarska, Luksemburg, Rumunija;</a:t>
                      </a:r>
                      <a:endParaRPr lang="en-US" sz="1400" b="1" kern="1200" dirty="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1438" marR="71438" marT="71438" marB="71438" anchor="ctr"/>
                </a:tc>
                <a:extLst>
                  <a:ext uri="{0D108BD9-81ED-4DB2-BD59-A6C34878D82A}">
                    <a16:rowId xmlns:a16="http://schemas.microsoft.com/office/drawing/2014/main" val="19843578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53531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212319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539" y="403442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076C626-ED46-4393-836E-7158952A37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9095330"/>
              </p:ext>
            </p:extLst>
          </p:nvPr>
        </p:nvGraphicFramePr>
        <p:xfrm>
          <a:off x="607695" y="1006351"/>
          <a:ext cx="4421505" cy="2981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93FF1CE-8580-4AA1-AA4A-5F37023E11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0047243"/>
              </p:ext>
            </p:extLst>
          </p:nvPr>
        </p:nvGraphicFramePr>
        <p:xfrm>
          <a:off x="4114800" y="1018699"/>
          <a:ext cx="4421505" cy="2914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11843338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381B789-2AB1-44FF-B548-610C76D36241}"/>
              </a:ext>
            </a:extLst>
          </p:cNvPr>
          <p:cNvGraphicFramePr>
            <a:graphicFrameLocks noGrp="1"/>
          </p:cNvGraphicFramePr>
          <p:nvPr/>
        </p:nvGraphicFramePr>
        <p:xfrm>
          <a:off x="145311" y="876649"/>
          <a:ext cx="8853378" cy="4067967"/>
        </p:xfrm>
        <a:graphic>
          <a:graphicData uri="http://schemas.openxmlformats.org/drawingml/2006/table">
            <a:tbl>
              <a:tblPr/>
              <a:tblGrid>
                <a:gridCol w="1447800">
                  <a:extLst>
                    <a:ext uri="{9D8B030D-6E8A-4147-A177-3AD203B41FA5}">
                      <a16:colId xmlns:a16="http://schemas.microsoft.com/office/drawing/2014/main" val="1472277998"/>
                    </a:ext>
                  </a:extLst>
                </a:gridCol>
                <a:gridCol w="2366926">
                  <a:extLst>
                    <a:ext uri="{9D8B030D-6E8A-4147-A177-3AD203B41FA5}">
                      <a16:colId xmlns:a16="http://schemas.microsoft.com/office/drawing/2014/main" val="201949261"/>
                    </a:ext>
                  </a:extLst>
                </a:gridCol>
                <a:gridCol w="2519326">
                  <a:extLst>
                    <a:ext uri="{9D8B030D-6E8A-4147-A177-3AD203B41FA5}">
                      <a16:colId xmlns:a16="http://schemas.microsoft.com/office/drawing/2014/main" val="2516270860"/>
                    </a:ext>
                  </a:extLst>
                </a:gridCol>
                <a:gridCol w="2519326">
                  <a:extLst>
                    <a:ext uri="{9D8B030D-6E8A-4147-A177-3AD203B41FA5}">
                      <a16:colId xmlns:a16="http://schemas.microsoft.com/office/drawing/2014/main" val="3694840290"/>
                    </a:ext>
                  </a:extLst>
                </a:gridCol>
              </a:tblGrid>
              <a:tr h="89387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0000"/>
                          </a:highlight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6539" marR="6539" marT="6539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lang="sr-Latn-R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</a:rPr>
                        <a:t>Istraživanje sa građanim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539" marR="6539" marT="6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8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sr-Latn-R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</a:rPr>
                        <a:t>Istraživanje sa ponuđačima</a:t>
                      </a:r>
                    </a:p>
                    <a:p>
                      <a:pPr algn="ctr" rtl="0" fontAlgn="ctr">
                        <a:lnSpc>
                          <a:spcPct val="150000"/>
                        </a:lnSpc>
                      </a:pP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539" marR="6539" marT="6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18F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Segoe UI" panose="020B0502040204020203" pitchFamily="34" charset="0"/>
                        </a:rPr>
                        <a:t>Istraživanje sa naručiocima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539" marR="6539" marT="6539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9E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303621"/>
                  </a:ext>
                </a:extLst>
              </a:tr>
              <a:tr h="532846">
                <a:tc>
                  <a:txBody>
                    <a:bodyPr/>
                    <a:lstStyle/>
                    <a:p>
                      <a:pPr algn="ctr" rtl="0" fontAlgn="ctr"/>
                      <a:r>
                        <a:rPr lang="sr-Latn-RS" sz="11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ajanje prikupljanja podataka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21.04.2021. – 26.04.2021.</a:t>
                      </a:r>
                      <a:endParaRPr lang="en-US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12.05.2021. – 01.06.2021.</a:t>
                      </a:r>
                      <a:endParaRPr lang="en-US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10.05.2021. – 31.05.2021.</a:t>
                      </a:r>
                      <a:endParaRPr lang="en-US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171516"/>
                  </a:ext>
                </a:extLst>
              </a:tr>
              <a:tr h="603875">
                <a:tc>
                  <a:txBody>
                    <a:bodyPr/>
                    <a:lstStyle/>
                    <a:p>
                      <a:pPr algn="ctr" rtl="0" fontAlgn="ctr"/>
                      <a:r>
                        <a:rPr lang="sr-Latn-RS" sz="11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Uzorački okvir: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err="1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Gra</a:t>
                      </a: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đ</a:t>
                      </a:r>
                      <a:r>
                        <a:rPr lang="en-U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ani </a:t>
                      </a:r>
                      <a:r>
                        <a:rPr lang="en-US" sz="1000" b="0" i="0" u="none" strike="noStrike" kern="1200" dirty="0" err="1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Srbije</a:t>
                      </a:r>
                      <a:r>
                        <a:rPr lang="en-U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 18+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reduzeća koja su imala iskustva sa javnim nabavkama u poslednje tri godine / Sva preduzeća registrovana u APR-u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Institucije iz javnog sektora koje su u poslednje tri godine učestvovale u javnim nabavkama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683609"/>
                  </a:ext>
                </a:extLst>
              </a:tr>
              <a:tr h="328681">
                <a:tc>
                  <a:txBody>
                    <a:bodyPr/>
                    <a:lstStyle/>
                    <a:p>
                      <a:pPr algn="ctr" rtl="0" fontAlgn="ctr"/>
                      <a:r>
                        <a:rPr lang="sr-Latn-RS" sz="11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Veličina uzorka: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1025</a:t>
                      </a:r>
                      <a:endParaRPr lang="en-GB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250 (150+100)</a:t>
                      </a:r>
                      <a:endParaRPr lang="en-US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2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155</a:t>
                      </a:r>
                      <a:endParaRPr lang="en-US" sz="12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590553"/>
                  </a:ext>
                </a:extLst>
              </a:tr>
              <a:tr h="667671"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100" b="1" i="0" u="none" strike="noStrike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ip uzorka: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Dvo-etapni stratifikovani reprezentativni uzorak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Jedno-etapni stratifikovani uzorak(opšta populacija preduzeća)/kvotni uzorak (preduzeća sa iskustvom sa javnim nabavkama)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Jedno-etapni stratifikovani reprezentativni uzorak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169541"/>
                  </a:ext>
                </a:extLst>
              </a:tr>
              <a:tr h="554417"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100" b="1" i="0" u="none" strike="noStrike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ratifikacija uzorka: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o regionu i tipu naselja (kvote za izbor ispitanika u domaćinstvu po polu i godinama)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o regionu, delatnosti i veličini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00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o tipu institucija</a:t>
                      </a:r>
                      <a:endParaRPr lang="en-US" sz="100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192743"/>
                  </a:ext>
                </a:extLst>
              </a:tr>
              <a:tr h="475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sr-Latn-RS" sz="1100" b="1" i="0" u="none" strike="noStrike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</a:rPr>
                        <a:t>Metod prikupljanja podataka</a:t>
                      </a:r>
                      <a:endParaRPr lang="en-US" sz="1100" b="1" i="0" u="none" strike="noStrike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09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Mix mode (online</a:t>
                      </a:r>
                      <a:r>
                        <a:rPr kumimoji="0" lang="sr-Latn-R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 + face-to-face</a:t>
                      </a: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22223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Mix mode (</a:t>
                      </a:r>
                      <a:r>
                        <a:rPr lang="sr-Latn-RS" sz="105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CAPI+CATI)/CAWI</a:t>
                      </a:r>
                      <a:endParaRPr lang="en-US" sz="105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dirty="0">
                        <a:solidFill>
                          <a:srgbClr val="222223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C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2428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Mix mode (</a:t>
                      </a:r>
                      <a:r>
                        <a:rPr lang="sr-Latn-RS" sz="105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CATI + online</a:t>
                      </a:r>
                      <a:r>
                        <a:rPr lang="en-US" sz="1050" b="0" i="0" u="none" strike="noStrike" kern="1200" dirty="0">
                          <a:solidFill>
                            <a:srgbClr val="222223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539" marR="6539" marT="653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DB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1465"/>
                  </a:ext>
                </a:extLst>
              </a:tr>
            </a:tbl>
          </a:graphicData>
        </a:graphic>
      </p:graphicFrame>
      <p:sp>
        <p:nvSpPr>
          <p:cNvPr id="45" name="Title 3">
            <a:extLst>
              <a:ext uri="{FF2B5EF4-FFF2-40B4-BE49-F238E27FC236}">
                <a16:creationId xmlns:a16="http://schemas.microsoft.com/office/drawing/2014/main" id="{94A0C425-767A-41AC-8521-9AFD3EE9B064}"/>
              </a:ext>
            </a:extLst>
          </p:cNvPr>
          <p:cNvSpPr txBox="1">
            <a:spLocks/>
          </p:cNvSpPr>
          <p:nvPr/>
        </p:nvSpPr>
        <p:spPr bwMode="gray">
          <a:xfrm>
            <a:off x="178981" y="107696"/>
            <a:ext cx="8077200" cy="383794"/>
          </a:xfrm>
          <a:prstGeom prst="rect">
            <a:avLst/>
          </a:prstGeom>
          <a:solidFill>
            <a:srgbClr val="EB5A3D"/>
          </a:solidFill>
        </p:spPr>
        <p:txBody>
          <a:bodyPr wrap="square" lIns="56319" tIns="12241" rIns="56319" bIns="12241" rtlCol="0" anchor="ctr">
            <a:spAutoFit/>
          </a:bodyPr>
          <a:lstStyle>
            <a:lvl1pPr algn="l" defTabSz="715269" rtl="0" eaLnBrk="1" latinLnBrk="0" hangingPunct="1">
              <a:lnSpc>
                <a:spcPts val="2789"/>
              </a:lnSpc>
              <a:spcBef>
                <a:spcPts val="0"/>
              </a:spcBef>
              <a:buNone/>
              <a:defRPr lang="en-GB" sz="24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715269" rtl="0" eaLnBrk="1" fontAlgn="auto" latinLnBrk="0" hangingPunct="1">
              <a:lnSpc>
                <a:spcPts val="27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TODOLOGIJA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 descr="Office worker">
            <a:extLst>
              <a:ext uri="{FF2B5EF4-FFF2-40B4-BE49-F238E27FC236}">
                <a16:creationId xmlns:a16="http://schemas.microsoft.com/office/drawing/2014/main" id="{453BF19F-5874-4377-B8CA-702B00CC62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543800" y="1123950"/>
            <a:ext cx="533400" cy="533400"/>
          </a:xfrm>
          <a:prstGeom prst="rect">
            <a:avLst/>
          </a:prstGeom>
        </p:spPr>
      </p:pic>
      <p:pic>
        <p:nvPicPr>
          <p:cNvPr id="10" name="Picture 9" descr="Man and woman">
            <a:extLst>
              <a:ext uri="{FF2B5EF4-FFF2-40B4-BE49-F238E27FC236}">
                <a16:creationId xmlns:a16="http://schemas.microsoft.com/office/drawing/2014/main" id="{6F7CA633-5DC7-434B-873C-9EFFF3C0A5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2514600" y="1123950"/>
            <a:ext cx="533400" cy="533400"/>
          </a:xfrm>
          <a:prstGeom prst="rect">
            <a:avLst/>
          </a:prstGeom>
        </p:spPr>
      </p:pic>
      <p:pic>
        <p:nvPicPr>
          <p:cNvPr id="12" name="Picture 11" descr="Briefcase">
            <a:extLst>
              <a:ext uri="{FF2B5EF4-FFF2-40B4-BE49-F238E27FC236}">
                <a16:creationId xmlns:a16="http://schemas.microsoft.com/office/drawing/2014/main" id="{B144B31B-56DA-48B1-8196-05801232294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883889" y="1123950"/>
            <a:ext cx="533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99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09385" y="4210513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107643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5F0682AA-1614-4494-AB0C-1B816A9C13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938140"/>
              </p:ext>
            </p:extLst>
          </p:nvPr>
        </p:nvGraphicFramePr>
        <p:xfrm>
          <a:off x="526701" y="967335"/>
          <a:ext cx="80010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001000">
                  <a:extLst>
                    <a:ext uri="{9D8B030D-6E8A-4147-A177-3AD203B41FA5}">
                      <a16:colId xmlns:a16="http://schemas.microsoft.com/office/drawing/2014/main" val="476928609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sr-Latn-RS" sz="1400" dirty="0"/>
                        <a:t>Primer dobre prakse – HRVATSKA: 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39835975"/>
                  </a:ext>
                </a:extLst>
              </a:tr>
            </a:tbl>
          </a:graphicData>
        </a:graphic>
      </p:graphicFrame>
      <p:pic>
        <p:nvPicPr>
          <p:cNvPr id="9" name="Picture 8" descr="Graphical user interface&#10;&#10;Description automatically generated">
            <a:extLst>
              <a:ext uri="{FF2B5EF4-FFF2-40B4-BE49-F238E27FC236}">
                <a16:creationId xmlns:a16="http://schemas.microsoft.com/office/drawing/2014/main" id="{B0E6B176-6832-4D5B-9DC7-11E2E5581A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1413972"/>
            <a:ext cx="5184217" cy="2701413"/>
          </a:xfrm>
          <a:prstGeom prst="rect">
            <a:avLst/>
          </a:prstGeom>
        </p:spPr>
      </p:pic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FA993B3-7BB8-4ACF-9573-906FD92E54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470070"/>
              </p:ext>
            </p:extLst>
          </p:nvPr>
        </p:nvGraphicFramePr>
        <p:xfrm>
          <a:off x="533400" y="1318846"/>
          <a:ext cx="3046828" cy="27965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046828">
                  <a:extLst>
                    <a:ext uri="{9D8B030D-6E8A-4147-A177-3AD203B41FA5}">
                      <a16:colId xmlns:a16="http://schemas.microsoft.com/office/drawing/2014/main" val="1664421378"/>
                    </a:ext>
                  </a:extLst>
                </a:gridCol>
              </a:tblGrid>
              <a:tr h="2662523">
                <a:tc>
                  <a:txBody>
                    <a:bodyPr/>
                    <a:lstStyle/>
                    <a:p>
                      <a:pPr marL="171450" indent="-1714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ZEJN je dobrovoljan; </a:t>
                      </a:r>
                    </a:p>
                    <a:p>
                      <a:pPr marL="171450" indent="-1714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Prvi NAP – 2015; </a:t>
                      </a:r>
                    </a:p>
                    <a:p>
                      <a:pPr marL="171450" indent="-1714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200" dirty="0"/>
                        <a:t>U 2015. </a:t>
                      </a:r>
                      <a:r>
                        <a:rPr lang="en-US" sz="1200" dirty="0" err="1"/>
                        <a:t>godini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održano</a:t>
                      </a:r>
                      <a:r>
                        <a:rPr lang="en-US" sz="1200" dirty="0"/>
                        <a:t> je 60 </a:t>
                      </a:r>
                      <a:r>
                        <a:rPr lang="en-US" sz="1200" dirty="0" err="1"/>
                        <a:t>specijalizovanih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program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obuke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n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temu</a:t>
                      </a:r>
                      <a:r>
                        <a:rPr lang="sr-Latn-RS" sz="1200" dirty="0"/>
                        <a:t> zelenih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javnih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nabavki</a:t>
                      </a:r>
                      <a:r>
                        <a:rPr lang="en-US" sz="1200" dirty="0"/>
                        <a:t>, </a:t>
                      </a:r>
                      <a:r>
                        <a:rPr lang="en-US" sz="1200" dirty="0" err="1"/>
                        <a:t>kojima</a:t>
                      </a:r>
                      <a:r>
                        <a:rPr lang="en-US" sz="1200" dirty="0"/>
                        <a:t> je </a:t>
                      </a:r>
                      <a:r>
                        <a:rPr lang="en-US" sz="1200" dirty="0" err="1"/>
                        <a:t>prisustvovalo</a:t>
                      </a:r>
                      <a:r>
                        <a:rPr lang="en-US" sz="1200" dirty="0"/>
                        <a:t> 1033 </a:t>
                      </a:r>
                      <a:r>
                        <a:rPr lang="en-US" sz="1200" dirty="0" err="1"/>
                        <a:t>učesnika</a:t>
                      </a:r>
                      <a:r>
                        <a:rPr lang="sr-Latn-RS" sz="1200" dirty="0"/>
                        <a:t>; U 2016. nastavljena obuka; </a:t>
                      </a:r>
                    </a:p>
                    <a:p>
                      <a:pPr marL="171450" indent="-1714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2018. – 541. ugovor sa zelenim kriterijumom;</a:t>
                      </a:r>
                    </a:p>
                    <a:p>
                      <a:pPr marL="171450" indent="-171450" algn="just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2020. – 1692. ugovora sa zelenim kriterijumom; </a:t>
                      </a:r>
                    </a:p>
                    <a:p>
                      <a:pPr marL="171450" indent="-1714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20 kriterijuma zelenih javnih nabavki; </a:t>
                      </a:r>
                    </a:p>
                    <a:p>
                      <a:pPr marL="171450" indent="-1714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200" dirty="0"/>
                        <a:t>Kriterijumi su identični EU GPP kriterijumima;</a:t>
                      </a:r>
                    </a:p>
                    <a:p>
                      <a:pPr algn="just"/>
                      <a:endParaRPr lang="en-US" sz="11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314095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98417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19D8EC5-9E7B-469D-BDC9-9830BEFD76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8950176"/>
              </p:ext>
            </p:extLst>
          </p:nvPr>
        </p:nvGraphicFramePr>
        <p:xfrm>
          <a:off x="533400" y="955119"/>
          <a:ext cx="79248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924800">
                  <a:extLst>
                    <a:ext uri="{9D8B030D-6E8A-4147-A177-3AD203B41FA5}">
                      <a16:colId xmlns:a16="http://schemas.microsoft.com/office/drawing/2014/main" val="98918001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l"/>
                      <a:r>
                        <a:rPr lang="sr-Latn-RS" sz="1400" dirty="0"/>
                        <a:t>Primer dobre prakse: SLOVENIJA: 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3508337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CAA715D-409C-4C2F-9945-5F06DF5A26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9857818"/>
              </p:ext>
            </p:extLst>
          </p:nvPr>
        </p:nvGraphicFramePr>
        <p:xfrm>
          <a:off x="533401" y="1249894"/>
          <a:ext cx="3505200" cy="27338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848626545"/>
                    </a:ext>
                  </a:extLst>
                </a:gridCol>
              </a:tblGrid>
              <a:tr h="2733840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en-US" sz="1300" dirty="0"/>
                        <a:t>Za </a:t>
                      </a:r>
                      <a:r>
                        <a:rPr lang="en-US" sz="1300" dirty="0" err="1"/>
                        <a:t>razliku</a:t>
                      </a:r>
                      <a:r>
                        <a:rPr lang="en-US" sz="1300" dirty="0"/>
                        <a:t> od </a:t>
                      </a:r>
                      <a:r>
                        <a:rPr lang="en-US" sz="1300" dirty="0" err="1"/>
                        <a:t>većin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ržav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članic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Evropsk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nije</a:t>
                      </a:r>
                      <a:r>
                        <a:rPr lang="en-US" sz="1300" dirty="0"/>
                        <a:t> , </a:t>
                      </a:r>
                      <a:r>
                        <a:rPr lang="en-US" sz="1300" dirty="0" err="1"/>
                        <a:t>Slovenij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ije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regulisala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siste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zele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h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i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donošenje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odgovarajućeg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akcionog</a:t>
                      </a:r>
                      <a:r>
                        <a:rPr lang="en-US" sz="1300" dirty="0"/>
                        <a:t> plana, </a:t>
                      </a:r>
                      <a:r>
                        <a:rPr lang="en-US" sz="1300" dirty="0" err="1"/>
                        <a:t>već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Uredbom</a:t>
                      </a:r>
                      <a:r>
                        <a:rPr lang="en-US" sz="1300" dirty="0"/>
                        <a:t> o </a:t>
                      </a:r>
                      <a:r>
                        <a:rPr lang="en-US" sz="1300" dirty="0" err="1"/>
                        <a:t>zele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javnim</a:t>
                      </a:r>
                      <a:r>
                        <a:rPr lang="en-US" sz="1300" dirty="0"/>
                        <a:t> </a:t>
                      </a:r>
                      <a:r>
                        <a:rPr lang="en-US" sz="1300" dirty="0" err="1"/>
                        <a:t>nabavkama</a:t>
                      </a:r>
                      <a:r>
                        <a:rPr lang="sr-Latn-RS" sz="1300" dirty="0"/>
                        <a:t>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U Sloveniji je obavezna primena zelenih kriterijuma; 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EU </a:t>
                      </a:r>
                      <a:r>
                        <a:rPr lang="sr-Latn-RS" sz="1300"/>
                        <a:t>projekat 18 miliona evra (1,36 miliona evra za ZeJN) – </a:t>
                      </a:r>
                      <a:r>
                        <a:rPr lang="sr-Latn-RS" sz="1300" dirty="0"/>
                        <a:t>Ugovorima o delu povećani kapaciteti; 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2018. Uredba – 20 proizvoda obaveznih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sr-Latn-RS" sz="1300" dirty="0"/>
                        <a:t>Formiran Help Desk;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87302723"/>
                  </a:ext>
                </a:extLst>
              </a:tr>
            </a:tbl>
          </a:graphicData>
        </a:graphic>
      </p:graphicFrame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2123FB7-3E52-4579-A41F-7FEF225F95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955" y="1243744"/>
            <a:ext cx="4243245" cy="2743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8689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28800" y="4025874"/>
            <a:ext cx="1464945" cy="411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29300" y="406479"/>
            <a:ext cx="1574483" cy="5486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Image result for usaid logo srbija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99" t="29602" r="43737" b="35194"/>
          <a:stretch/>
        </p:blipFill>
        <p:spPr bwMode="auto">
          <a:xfrm>
            <a:off x="1428750" y="342900"/>
            <a:ext cx="1864995" cy="6757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Picture 2" descr="C:\Users\Aleksandra\Documents\My documents\PPD\PARTNERSKE ORGANIZACIJE\Udruzenje ponudjaca za JN\logo-raster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468" y="3923004"/>
            <a:ext cx="1436147" cy="61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D0626B1D-A969-4ADE-B184-6E1356493D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791341"/>
              </p:ext>
            </p:extLst>
          </p:nvPr>
        </p:nvGraphicFramePr>
        <p:xfrm>
          <a:off x="381000" y="999747"/>
          <a:ext cx="8077200" cy="2819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8077200">
                  <a:extLst>
                    <a:ext uri="{9D8B030D-6E8A-4147-A177-3AD203B41FA5}">
                      <a16:colId xmlns:a16="http://schemas.microsoft.com/office/drawing/2014/main" val="2301267068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sr-Latn-RS" sz="1400" dirty="0"/>
                        <a:t>ZeJN obavezan za: </a:t>
                      </a:r>
                      <a:endParaRPr lang="en-US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207662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C1616F32-95BD-4881-B89D-43DECFDFA4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770432"/>
              </p:ext>
            </p:extLst>
          </p:nvPr>
        </p:nvGraphicFramePr>
        <p:xfrm>
          <a:off x="381000" y="1308295"/>
          <a:ext cx="2638866" cy="262890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638866">
                  <a:extLst>
                    <a:ext uri="{9D8B030D-6E8A-4147-A177-3AD203B41FA5}">
                      <a16:colId xmlns:a16="http://schemas.microsoft.com/office/drawing/2014/main" val="3758024489"/>
                    </a:ext>
                  </a:extLst>
                </a:gridCol>
              </a:tblGrid>
              <a:tr h="2614709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električnu energiju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prehrambene i ugostiteljske uslug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tekstilne proizvod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kancelarijski papir i higijenske papirne proizvod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elektronsku kancelarijsku opremu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televizor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dirty="0"/>
                        <a:t>frižidere, zamrzivače i njihove kombinacije, mašine za pranje i sušenje veša, mašine za pranje sudova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5106837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4BB333A-707F-44B6-B2AC-A3796B7AF5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9005549"/>
              </p:ext>
            </p:extLst>
          </p:nvPr>
        </p:nvGraphicFramePr>
        <p:xfrm>
          <a:off x="3124589" y="1316146"/>
          <a:ext cx="2603311" cy="262104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603311">
                  <a:extLst>
                    <a:ext uri="{9D8B030D-6E8A-4147-A177-3AD203B41FA5}">
                      <a16:colId xmlns:a16="http://schemas.microsoft.com/office/drawing/2014/main" val="1020007725"/>
                    </a:ext>
                  </a:extLst>
                </a:gridCol>
              </a:tblGrid>
              <a:tr h="2621049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nameštaj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bojlere, grejače prostora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sanitarne armatur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opremu za ispiranje toaleta i opremu za pisoar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zidne ploč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projektovanje ili izgradnju objekata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vozila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gum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projektovanje ili izgradnju puteva;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66274850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3617A213-8133-4D75-8FD2-B8223BD11A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353759"/>
              </p:ext>
            </p:extLst>
          </p:nvPr>
        </p:nvGraphicFramePr>
        <p:xfrm>
          <a:off x="5829299" y="1308295"/>
          <a:ext cx="2603311" cy="262890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603311">
                  <a:extLst>
                    <a:ext uri="{9D8B030D-6E8A-4147-A177-3AD203B41FA5}">
                      <a16:colId xmlns:a16="http://schemas.microsoft.com/office/drawing/2014/main" val="2025701239"/>
                    </a:ext>
                  </a:extLst>
                </a:gridCol>
              </a:tblGrid>
              <a:tr h="2628900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električne lampe i osvetljenje i unutrašnje osvetljenje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rasvetu, osvetljenje puta i saobraćajnu signalizaciju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sredstva za čišćenje, usluge pranja i čišćenja;</a:t>
                      </a:r>
                    </a:p>
                    <a:p>
                      <a:pPr marL="285750" indent="-285750">
                        <a:buClr>
                          <a:schemeClr val="accent6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sr-Latn-RS" sz="1200" noProof="0" dirty="0"/>
                        <a:t>usluge baštovanstva, poljoprivrednih i drugih proizvoda i baštenske opreme i mašina;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58688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4361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:\Jovana Ciric - Sačuvano\Jovana NALED\2018\PPD USAID\PPD key visual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569" y="2628900"/>
            <a:ext cx="2979191" cy="1851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43000" y="1257300"/>
            <a:ext cx="6858000" cy="946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4050" b="1" dirty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Hvala na pažnji</a:t>
            </a:r>
          </a:p>
          <a:p>
            <a:pPr algn="ctr"/>
            <a:endParaRPr lang="sr-Latn-RS" sz="1500" b="1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81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141161CC-8619-482A-A22D-FB1BA3EE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4264939" cy="383794"/>
          </a:xfrm>
          <a:solidFill>
            <a:srgbClr val="007C82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en-US" dirty="0"/>
              <a:t>GRA</a:t>
            </a:r>
            <a:r>
              <a:rPr lang="sr-Latn-RS" dirty="0"/>
              <a:t>ĐANI</a:t>
            </a:r>
            <a:r>
              <a:rPr lang="en-US" dirty="0"/>
              <a:t>: </a:t>
            </a:r>
            <a:r>
              <a:rPr lang="sr-Latn-RS" dirty="0"/>
              <a:t>Struktura uzorka*</a:t>
            </a:r>
            <a:endParaRPr lang="en-US" dirty="0"/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6AA87CCC-70CA-46AC-A05C-069CCCE776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5117589"/>
              </p:ext>
            </p:extLst>
          </p:nvPr>
        </p:nvGraphicFramePr>
        <p:xfrm>
          <a:off x="284950" y="1181129"/>
          <a:ext cx="8574100" cy="3877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46EC46B-EAC7-4808-823D-DED99BADB54A}"/>
              </a:ext>
            </a:extLst>
          </p:cNvPr>
          <p:cNvSpPr/>
          <p:nvPr/>
        </p:nvSpPr>
        <p:spPr bwMode="auto">
          <a:xfrm>
            <a:off x="533400" y="895350"/>
            <a:ext cx="480733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Pol</a:t>
            </a:r>
          </a:p>
        </p:txBody>
      </p:sp>
      <p:cxnSp>
        <p:nvCxnSpPr>
          <p:cNvPr id="19" name="Straight Connector 3">
            <a:extLst>
              <a:ext uri="{FF2B5EF4-FFF2-40B4-BE49-F238E27FC236}">
                <a16:creationId xmlns:a16="http://schemas.microsoft.com/office/drawing/2014/main" id="{631C2008-CDA0-4881-8A69-267279D6E4E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447800" y="1428750"/>
            <a:ext cx="0" cy="3467437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CBF166F8-CAEB-4122-9932-8A4FC003F19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657600" y="1428750"/>
            <a:ext cx="0" cy="3464123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6" name="Straight Connector 3">
            <a:extLst>
              <a:ext uri="{FF2B5EF4-FFF2-40B4-BE49-F238E27FC236}">
                <a16:creationId xmlns:a16="http://schemas.microsoft.com/office/drawing/2014/main" id="{B07F7BEE-81C6-4F43-8AD7-25EFBE25DB6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086600" y="1428750"/>
            <a:ext cx="0" cy="3465576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E703D84-7AC2-40EB-8246-117FA3971A28}"/>
              </a:ext>
            </a:extLst>
          </p:cNvPr>
          <p:cNvSpPr/>
          <p:nvPr/>
        </p:nvSpPr>
        <p:spPr>
          <a:xfrm>
            <a:off x="7639806" y="4866501"/>
            <a:ext cx="15041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1200" i="1" dirty="0"/>
              <a:t>*ponderisani podaci</a:t>
            </a:r>
            <a:endParaRPr lang="en-US" sz="1200" i="1" dirty="0"/>
          </a:p>
        </p:txBody>
      </p: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C74E6C4A-838B-47B4-B256-FBB757375B2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943600" y="1428750"/>
            <a:ext cx="0" cy="3465576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5C94DDD-87DE-42FF-B0B3-D7B7726E2AB9}"/>
              </a:ext>
            </a:extLst>
          </p:cNvPr>
          <p:cNvSpPr/>
          <p:nvPr/>
        </p:nvSpPr>
        <p:spPr bwMode="auto">
          <a:xfrm>
            <a:off x="2209800" y="895350"/>
            <a:ext cx="821185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Godine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3EFB486-31B0-421B-920D-2C5887FE3BB7}"/>
              </a:ext>
            </a:extLst>
          </p:cNvPr>
          <p:cNvSpPr/>
          <p:nvPr/>
        </p:nvSpPr>
        <p:spPr bwMode="auto">
          <a:xfrm>
            <a:off x="5943600" y="895350"/>
            <a:ext cx="1113750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Tip naselja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E70A715-347E-4CB0-B194-79EB359116F8}"/>
              </a:ext>
            </a:extLst>
          </p:cNvPr>
          <p:cNvSpPr/>
          <p:nvPr/>
        </p:nvSpPr>
        <p:spPr bwMode="auto">
          <a:xfrm>
            <a:off x="7467600" y="895350"/>
            <a:ext cx="1268841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Obrazovanj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2E39861-E9B9-4DC2-B742-EBC04C6AF133}"/>
              </a:ext>
            </a:extLst>
          </p:cNvPr>
          <p:cNvSpPr/>
          <p:nvPr/>
        </p:nvSpPr>
        <p:spPr bwMode="auto">
          <a:xfrm>
            <a:off x="4267200" y="895350"/>
            <a:ext cx="804869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Region</a:t>
            </a:r>
          </a:p>
        </p:txBody>
      </p:sp>
      <p:pic>
        <p:nvPicPr>
          <p:cNvPr id="15" name="Picture 14" descr="Man and woman">
            <a:extLst>
              <a:ext uri="{FF2B5EF4-FFF2-40B4-BE49-F238E27FC236}">
                <a16:creationId xmlns:a16="http://schemas.microsoft.com/office/drawing/2014/main" id="{68808881-6DF5-49D8-964C-8A047D69EC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0983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141161CC-8619-482A-A22D-FB1BA3EE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4463903" cy="383794"/>
          </a:xfrm>
          <a:solidFill>
            <a:srgbClr val="418F47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sr-Latn-RS" dirty="0"/>
              <a:t>PONUĐAČI</a:t>
            </a:r>
            <a:r>
              <a:rPr lang="en-US" dirty="0"/>
              <a:t>: </a:t>
            </a:r>
            <a:r>
              <a:rPr lang="sr-Latn-RS" dirty="0"/>
              <a:t>Struktura uzorka*</a:t>
            </a:r>
            <a:endParaRPr lang="en-US" dirty="0"/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6AA87CCC-70CA-46AC-A05C-069CCCE776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5468609"/>
              </p:ext>
            </p:extLst>
          </p:nvPr>
        </p:nvGraphicFramePr>
        <p:xfrm>
          <a:off x="284950" y="1581150"/>
          <a:ext cx="8574100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46EC46B-EAC7-4808-823D-DED99BADB54A}"/>
              </a:ext>
            </a:extLst>
          </p:cNvPr>
          <p:cNvSpPr/>
          <p:nvPr/>
        </p:nvSpPr>
        <p:spPr bwMode="auto">
          <a:xfrm>
            <a:off x="152400" y="895350"/>
            <a:ext cx="1447800" cy="578882"/>
          </a:xfrm>
          <a:prstGeom prst="roundRect">
            <a:avLst/>
          </a:prstGeom>
          <a:solidFill>
            <a:srgbClr val="9F1535"/>
          </a:solidFill>
        </p:spPr>
        <p:txBody>
          <a:bodyPr wrap="square">
            <a:spAutoFit/>
          </a:bodyPr>
          <a:lstStyle/>
          <a:p>
            <a:pPr algn="ctr"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Učestovali u postupcima</a:t>
            </a:r>
          </a:p>
        </p:txBody>
      </p:sp>
      <p:cxnSp>
        <p:nvCxnSpPr>
          <p:cNvPr id="19" name="Straight Connector 3">
            <a:extLst>
              <a:ext uri="{FF2B5EF4-FFF2-40B4-BE49-F238E27FC236}">
                <a16:creationId xmlns:a16="http://schemas.microsoft.com/office/drawing/2014/main" id="{631C2008-CDA0-4881-8A69-267279D6E4E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24000" y="1809750"/>
            <a:ext cx="0" cy="3048000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CBF166F8-CAEB-4122-9932-8A4FC003F19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331535" y="1756588"/>
            <a:ext cx="0" cy="3083123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6" name="Straight Connector 3">
            <a:extLst>
              <a:ext uri="{FF2B5EF4-FFF2-40B4-BE49-F238E27FC236}">
                <a16:creationId xmlns:a16="http://schemas.microsoft.com/office/drawing/2014/main" id="{B07F7BEE-81C6-4F43-8AD7-25EFBE25DB6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78502" y="1712284"/>
            <a:ext cx="0" cy="3160776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8E703D84-7AC2-40EB-8246-117FA3971A28}"/>
              </a:ext>
            </a:extLst>
          </p:cNvPr>
          <p:cNvSpPr/>
          <p:nvPr/>
        </p:nvSpPr>
        <p:spPr>
          <a:xfrm>
            <a:off x="7639806" y="4866501"/>
            <a:ext cx="15041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1200" i="1" dirty="0"/>
              <a:t>*ponderisani podaci</a:t>
            </a:r>
            <a:endParaRPr lang="en-US" sz="1200" i="1" dirty="0"/>
          </a:p>
        </p:txBody>
      </p: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C74E6C4A-838B-47B4-B256-FBB757375B2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715000" y="1733550"/>
            <a:ext cx="0" cy="3160776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5C94DDD-87DE-42FF-B0B3-D7B7726E2AB9}"/>
              </a:ext>
            </a:extLst>
          </p:cNvPr>
          <p:cNvSpPr/>
          <p:nvPr/>
        </p:nvSpPr>
        <p:spPr bwMode="auto">
          <a:xfrm>
            <a:off x="1828800" y="895350"/>
            <a:ext cx="1368058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Veličina firme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53EFB486-31B0-421B-920D-2C5887FE3BB7}"/>
              </a:ext>
            </a:extLst>
          </p:cNvPr>
          <p:cNvSpPr/>
          <p:nvPr/>
        </p:nvSpPr>
        <p:spPr bwMode="auto">
          <a:xfrm>
            <a:off x="5638800" y="895350"/>
            <a:ext cx="1447800" cy="578882"/>
          </a:xfrm>
          <a:prstGeom prst="roundRect">
            <a:avLst/>
          </a:prstGeom>
          <a:solidFill>
            <a:srgbClr val="9F1535"/>
          </a:solidFill>
        </p:spPr>
        <p:txBody>
          <a:bodyPr wrap="square">
            <a:spAutoFit/>
          </a:bodyPr>
          <a:lstStyle/>
          <a:p>
            <a:pPr algn="ctr"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Osoba za javne nabavk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E70A715-347E-4CB0-B194-79EB359116F8}"/>
              </a:ext>
            </a:extLst>
          </p:cNvPr>
          <p:cNvSpPr/>
          <p:nvPr/>
        </p:nvSpPr>
        <p:spPr bwMode="auto">
          <a:xfrm>
            <a:off x="7467600" y="895350"/>
            <a:ext cx="1029626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Delatnos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2E39861-E9B9-4DC2-B742-EBC04C6AF133}"/>
              </a:ext>
            </a:extLst>
          </p:cNvPr>
          <p:cNvSpPr/>
          <p:nvPr/>
        </p:nvSpPr>
        <p:spPr bwMode="auto">
          <a:xfrm>
            <a:off x="3657600" y="895350"/>
            <a:ext cx="1507471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Broj zaposlenih</a:t>
            </a:r>
          </a:p>
        </p:txBody>
      </p:sp>
      <p:pic>
        <p:nvPicPr>
          <p:cNvPr id="15" name="Picture 14" descr="Briefcase">
            <a:extLst>
              <a:ext uri="{FF2B5EF4-FFF2-40B4-BE49-F238E27FC236}">
                <a16:creationId xmlns:a16="http://schemas.microsoft.com/office/drawing/2014/main" id="{68808881-6DF5-49D8-964C-8A047D69EC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60241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141161CC-8619-482A-A22D-FB1BA3EE5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21911"/>
            <a:ext cx="4540655" cy="383794"/>
          </a:xfrm>
          <a:solidFill>
            <a:srgbClr val="DA9E11"/>
          </a:solidFill>
        </p:spPr>
        <p:txBody>
          <a:bodyPr wrap="none" lIns="56319" tIns="12241" rIns="56319" bIns="12241" rtlCol="0" anchor="ctr">
            <a:spAutoFit/>
          </a:bodyPr>
          <a:lstStyle/>
          <a:p>
            <a:r>
              <a:rPr lang="sr-Latn-RS" dirty="0"/>
              <a:t>NARUČIOCI</a:t>
            </a:r>
            <a:r>
              <a:rPr lang="en-US" dirty="0"/>
              <a:t>: </a:t>
            </a:r>
            <a:r>
              <a:rPr lang="sr-Latn-RS" dirty="0"/>
              <a:t>Struktura uzorka</a:t>
            </a:r>
            <a:endParaRPr lang="en-US" dirty="0"/>
          </a:p>
        </p:txBody>
      </p:sp>
      <p:graphicFrame>
        <p:nvGraphicFramePr>
          <p:cNvPr id="14" name="Object 2">
            <a:extLst>
              <a:ext uri="{FF2B5EF4-FFF2-40B4-BE49-F238E27FC236}">
                <a16:creationId xmlns:a16="http://schemas.microsoft.com/office/drawing/2014/main" id="{6AA87CCC-70CA-46AC-A05C-069CCCE776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93909918"/>
              </p:ext>
            </p:extLst>
          </p:nvPr>
        </p:nvGraphicFramePr>
        <p:xfrm>
          <a:off x="284950" y="1181129"/>
          <a:ext cx="8574100" cy="3877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746EC46B-EAC7-4808-823D-DED99BADB54A}"/>
              </a:ext>
            </a:extLst>
          </p:cNvPr>
          <p:cNvSpPr/>
          <p:nvPr/>
        </p:nvSpPr>
        <p:spPr bwMode="auto">
          <a:xfrm>
            <a:off x="1143000" y="895350"/>
            <a:ext cx="804869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Region</a:t>
            </a:r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CBF166F8-CAEB-4122-9932-8A4FC003F19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895600" y="1428750"/>
            <a:ext cx="0" cy="3464123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cxnSp>
        <p:nvCxnSpPr>
          <p:cNvPr id="27" name="Straight Connector 3">
            <a:extLst>
              <a:ext uri="{FF2B5EF4-FFF2-40B4-BE49-F238E27FC236}">
                <a16:creationId xmlns:a16="http://schemas.microsoft.com/office/drawing/2014/main" id="{C74E6C4A-838B-47B4-B256-FBB757375B2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562600" y="1428750"/>
            <a:ext cx="0" cy="3465576"/>
          </a:xfrm>
          <a:prstGeom prst="line">
            <a:avLst/>
          </a:prstGeom>
          <a:noFill/>
          <a:ln w="19050" cap="flat" cmpd="sng" algn="ctr">
            <a:solidFill>
              <a:srgbClr val="3C9656">
                <a:lumMod val="50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5C94DDD-87DE-42FF-B0B3-D7B7726E2AB9}"/>
              </a:ext>
            </a:extLst>
          </p:cNvPr>
          <p:cNvSpPr/>
          <p:nvPr/>
        </p:nvSpPr>
        <p:spPr bwMode="auto">
          <a:xfrm>
            <a:off x="3429000" y="895350"/>
            <a:ext cx="1507471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Broj zaposlenih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EE70A715-347E-4CB0-B194-79EB359116F8}"/>
              </a:ext>
            </a:extLst>
          </p:cNvPr>
          <p:cNvSpPr/>
          <p:nvPr/>
        </p:nvSpPr>
        <p:spPr bwMode="auto">
          <a:xfrm>
            <a:off x="6172200" y="895350"/>
            <a:ext cx="1354920" cy="340519"/>
          </a:xfrm>
          <a:prstGeom prst="roundRect">
            <a:avLst/>
          </a:prstGeom>
          <a:solidFill>
            <a:srgbClr val="9F1535"/>
          </a:solidFill>
        </p:spPr>
        <p:txBody>
          <a:bodyPr wrap="none">
            <a:spAutoFit/>
          </a:bodyPr>
          <a:lstStyle/>
          <a:p>
            <a:pPr defTabSz="953984"/>
            <a:r>
              <a:rPr lang="sr-Latn-CS" sz="1400" b="1" dirty="0">
                <a:solidFill>
                  <a:prstClr val="white"/>
                </a:solidFill>
                <a:latin typeface="Segoe UI"/>
              </a:rPr>
              <a:t>Tip institucije</a:t>
            </a:r>
          </a:p>
        </p:txBody>
      </p:sp>
      <p:pic>
        <p:nvPicPr>
          <p:cNvPr id="15" name="Picture 14" descr="Office worker">
            <a:extLst>
              <a:ext uri="{FF2B5EF4-FFF2-40B4-BE49-F238E27FC236}">
                <a16:creationId xmlns:a16="http://schemas.microsoft.com/office/drawing/2014/main" id="{68808881-6DF5-49D8-964C-8A047D69EC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280775" y="64246"/>
            <a:ext cx="559923" cy="55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70191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131CBF6-6820-400F-99FB-CB85350AC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100" y="1047750"/>
            <a:ext cx="8003800" cy="913770"/>
          </a:xfrm>
        </p:spPr>
        <p:txBody>
          <a:bodyPr wrap="square" anchor="ctr">
            <a:normAutofit/>
          </a:bodyPr>
          <a:lstStyle/>
          <a:p>
            <a:pPr algn="l"/>
            <a:r>
              <a:rPr lang="en-US" sz="2900" dirty="0" err="1"/>
              <a:t>Upoznatost</a:t>
            </a:r>
            <a:r>
              <a:rPr lang="en-US" sz="2900" dirty="0"/>
              <a:t> </a:t>
            </a:r>
            <a:r>
              <a:rPr lang="sr-Latn-RS" sz="2900" dirty="0"/>
              <a:t>i primena</a:t>
            </a:r>
            <a:r>
              <a:rPr lang="en-US" sz="2900" dirty="0"/>
              <a:t> </a:t>
            </a:r>
            <a:r>
              <a:rPr lang="en-US" sz="2900" dirty="0" err="1"/>
              <a:t>kriterijumima</a:t>
            </a:r>
            <a:r>
              <a:rPr lang="sr-Latn-RS" sz="2900" dirty="0"/>
              <a:t> - </a:t>
            </a:r>
            <a:r>
              <a:rPr lang="sr-Latn-RS" sz="2900" i="1" dirty="0"/>
              <a:t>Naručioci</a:t>
            </a:r>
            <a:endParaRPr lang="en-US" sz="2900" i="1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B56599E-3853-4790-8D91-BDAA761ED4A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53" b="1815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2764228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8C1457-C3FB-4FDA-BCB6-F86BEA66D4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3788" y="4770137"/>
            <a:ext cx="6197011" cy="276999"/>
          </a:xfrm>
          <a:noFill/>
        </p:spPr>
        <p:txBody>
          <a:bodyPr vert="horz" wrap="square" lIns="48965" tIns="0" rIns="48965" bIns="0" rtlCol="0" anchor="ctr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U </a:t>
            </a:r>
            <a:r>
              <a:rPr lang="en-US" sz="900" b="0" i="1" dirty="0" err="1">
                <a:solidFill>
                  <a:schemeClr val="tx1"/>
                </a:solidFill>
              </a:rPr>
              <a:t>kojoj</a:t>
            </a:r>
            <a:r>
              <a:rPr lang="en-US" sz="900" b="0" i="1" dirty="0">
                <a:solidFill>
                  <a:schemeClr val="tx1"/>
                </a:solidFill>
              </a:rPr>
              <a:t> meri </a:t>
            </a:r>
            <a:r>
              <a:rPr lang="en-US" sz="900" b="0" i="1" dirty="0" err="1">
                <a:solidFill>
                  <a:schemeClr val="tx1"/>
                </a:solidFill>
              </a:rPr>
              <a:t>s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poznat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s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sledećim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kriterijumima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vez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postupk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javnih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bavki</a:t>
            </a:r>
            <a:r>
              <a:rPr lang="en-US" sz="900" b="0" i="1" dirty="0">
                <a:solidFill>
                  <a:schemeClr val="tx1"/>
                </a:solidFill>
              </a:rPr>
              <a:t>? </a:t>
            </a:r>
            <a:r>
              <a:rPr lang="en-US" sz="900" b="0" i="1" dirty="0" err="1">
                <a:solidFill>
                  <a:schemeClr val="tx1"/>
                </a:solidFill>
              </a:rPr>
              <a:t>Molim</a:t>
            </a:r>
            <a:r>
              <a:rPr lang="en-US" sz="900" b="0" i="1" dirty="0">
                <a:solidFill>
                  <a:schemeClr val="tx1"/>
                </a:solidFill>
              </a:rPr>
              <a:t> Vas da </a:t>
            </a:r>
            <a:r>
              <a:rPr lang="en-US" sz="900" b="0" i="1" dirty="0" err="1">
                <a:solidFill>
                  <a:schemeClr val="tx1"/>
                </a:solidFill>
              </a:rPr>
              <a:t>koristi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skalu</a:t>
            </a:r>
            <a:r>
              <a:rPr lang="en-US" sz="900" b="0" i="1" dirty="0">
                <a:solidFill>
                  <a:schemeClr val="tx1"/>
                </a:solidFill>
              </a:rPr>
              <a:t> od 1 do 4, </a:t>
            </a:r>
            <a:r>
              <a:rPr lang="en-US" sz="900" b="0" i="1" dirty="0" err="1">
                <a:solidFill>
                  <a:schemeClr val="tx1"/>
                </a:solidFill>
              </a:rPr>
              <a:t>gde</a:t>
            </a:r>
            <a:r>
              <a:rPr lang="en-US" sz="900" b="0" i="1" dirty="0">
                <a:solidFill>
                  <a:schemeClr val="tx1"/>
                </a:solidFill>
              </a:rPr>
              <a:t> 1 </a:t>
            </a:r>
            <a:r>
              <a:rPr lang="en-US" sz="900" b="0" i="1" dirty="0" err="1">
                <a:solidFill>
                  <a:schemeClr val="tx1"/>
                </a:solidFill>
              </a:rPr>
              <a:t>znači</a:t>
            </a:r>
            <a:r>
              <a:rPr lang="en-US" sz="900" b="0" i="1" dirty="0">
                <a:solidFill>
                  <a:schemeClr val="tx1"/>
                </a:solidFill>
              </a:rPr>
              <a:t> da se </a:t>
            </a:r>
            <a:r>
              <a:rPr lang="en-US" sz="900" b="0" i="1" dirty="0" err="1">
                <a:solidFill>
                  <a:schemeClr val="tx1"/>
                </a:solidFill>
              </a:rPr>
              <a:t>uopš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iste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poznati</a:t>
            </a:r>
            <a:r>
              <a:rPr lang="en-US" sz="900" b="0" i="1" dirty="0">
                <a:solidFill>
                  <a:schemeClr val="tx1"/>
                </a:solidFill>
              </a:rPr>
              <a:t>, a 4 da </a:t>
            </a:r>
            <a:r>
              <a:rPr lang="en-US" sz="900" b="0" i="1" dirty="0" err="1">
                <a:solidFill>
                  <a:schemeClr val="tx1"/>
                </a:solidFill>
              </a:rPr>
              <a:t>ste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potpunosti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upoznati</a:t>
            </a:r>
            <a:r>
              <a:rPr lang="en-US" sz="900" b="0" i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4DD682-DB2E-452E-8E1E-A29DE5F2E7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40665"/>
            <a:ext cx="8305798" cy="346284"/>
          </a:xfrm>
          <a:solidFill>
            <a:srgbClr val="DA9E11"/>
          </a:solidFill>
        </p:spPr>
        <p:txBody>
          <a:bodyPr wrap="square" lIns="56319" tIns="12241" rIns="56319" bIns="12241" rtlCol="0" anchor="ctr">
            <a:spAutoFit/>
          </a:bodyPr>
          <a:lstStyle/>
          <a:p>
            <a:r>
              <a:rPr lang="sr-Latn-RS" sz="1800" dirty="0"/>
              <a:t>Upoznatost naručilaca sa kriterijumima u vezi postupka javnih nabavki</a:t>
            </a:r>
            <a:endParaRPr lang="en-US" sz="1800" dirty="0">
              <a:highlight>
                <a:srgbClr val="FFFF00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754BF5-27FB-49C8-A78A-5FC8B642A146}"/>
              </a:ext>
            </a:extLst>
          </p:cNvPr>
          <p:cNvSpPr txBox="1"/>
          <p:nvPr/>
        </p:nvSpPr>
        <p:spPr bwMode="gray">
          <a:xfrm>
            <a:off x="6781800" y="4878550"/>
            <a:ext cx="2362200" cy="138499"/>
          </a:xfrm>
          <a:prstGeom prst="rect">
            <a:avLst/>
          </a:prstGeom>
          <a:noFill/>
        </p:spPr>
        <p:txBody>
          <a:bodyPr vert="horz" wrap="square" lIns="48965" tIns="0" rIns="48965" bIns="0" rtlCol="0" anchor="ctr">
            <a:spAutoFit/>
          </a:bodyPr>
          <a:lstStyle>
            <a:defPPr>
              <a:defRPr lang="en-US"/>
            </a:defPPr>
            <a:lvl1pPr indent="0" defTabSz="71526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Tx/>
              <a:buNone/>
              <a:defRPr sz="900" b="0" i="1"/>
            </a:lvl1pPr>
            <a:lvl2pPr marL="581156" indent="-223521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900"/>
            </a:lvl2pPr>
            <a:lvl3pPr marL="894087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600"/>
            </a:lvl3pPr>
            <a:lvl4pPr marL="1251722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4pPr>
            <a:lvl5pPr marL="1609356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5pPr>
            <a:lvl6pPr marL="1966991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6pPr>
            <a:lvl7pPr marL="2324626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7pPr>
            <a:lvl8pPr marL="2682260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8pPr>
            <a:lvl9pPr marL="3039895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9pPr>
          </a:lstStyle>
          <a:p>
            <a:r>
              <a:rPr lang="sr-Latn-RS" i="0" dirty="0"/>
              <a:t>Baza: Ukupna populacija ponuđača</a:t>
            </a:r>
            <a:endParaRPr lang="en-US" i="0" dirty="0"/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4E41FC0C-C512-476F-9726-1CD8305649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5143991"/>
              </p:ext>
            </p:extLst>
          </p:nvPr>
        </p:nvGraphicFramePr>
        <p:xfrm>
          <a:off x="203789" y="1398279"/>
          <a:ext cx="8711611" cy="3230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9673761-C94D-4B45-8F02-AF02CE048699}"/>
              </a:ext>
            </a:extLst>
          </p:cNvPr>
          <p:cNvSpPr txBox="1"/>
          <p:nvPr/>
        </p:nvSpPr>
        <p:spPr>
          <a:xfrm>
            <a:off x="228600" y="819150"/>
            <a:ext cx="8686800" cy="5732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0000" tIns="0" rIns="90000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en-US" sz="1300" dirty="0" err="1"/>
              <a:t>Ve</a:t>
            </a:r>
            <a:r>
              <a:rPr lang="sr-Latn-RS" sz="1300" dirty="0"/>
              <a:t>ć</a:t>
            </a:r>
            <a:r>
              <a:rPr lang="en-US" sz="1300" dirty="0" err="1"/>
              <a:t>ina</a:t>
            </a:r>
            <a:r>
              <a:rPr lang="en-US" sz="1300" dirty="0"/>
              <a:t> </a:t>
            </a:r>
            <a:r>
              <a:rPr lang="sr-Latn-RS" sz="1300" dirty="0"/>
              <a:t>ispitanih ponuđača </a:t>
            </a:r>
            <a:r>
              <a:rPr lang="en-US" sz="1300" dirty="0"/>
              <a:t>je </a:t>
            </a:r>
            <a:r>
              <a:rPr lang="sr-Latn-RS" sz="1300" dirty="0"/>
              <a:t>navela daje u</a:t>
            </a:r>
            <a:r>
              <a:rPr lang="en-US" sz="1300" dirty="0"/>
              <a:t>po</a:t>
            </a:r>
            <a:r>
              <a:rPr lang="sr-Latn-RS" sz="1300" dirty="0"/>
              <a:t>z</a:t>
            </a:r>
            <a:r>
              <a:rPr lang="en-US" sz="1300" dirty="0"/>
              <a:t>nata </a:t>
            </a:r>
            <a:r>
              <a:rPr lang="sr-Latn-RS" sz="1300" dirty="0"/>
              <a:t>ekološkim</a:t>
            </a:r>
            <a:r>
              <a:rPr lang="en-US" sz="1300" dirty="0"/>
              <a:t> </a:t>
            </a:r>
            <a:r>
              <a:rPr lang="en-US" sz="1300" dirty="0" err="1"/>
              <a:t>kriterijum</a:t>
            </a:r>
            <a:r>
              <a:rPr lang="sr-Latn-RS" sz="1300" dirty="0"/>
              <a:t>ima (6 od10)</a:t>
            </a:r>
            <a:r>
              <a:rPr lang="en-US" sz="1300" dirty="0"/>
              <a:t>. </a:t>
            </a:r>
            <a:r>
              <a:rPr lang="en-US" sz="1300" dirty="0" err="1"/>
              <a:t>Ubedljivo</a:t>
            </a:r>
            <a:r>
              <a:rPr lang="en-US" sz="1300" dirty="0"/>
              <a:t> </a:t>
            </a:r>
            <a:r>
              <a:rPr lang="en-US" sz="1300" dirty="0" err="1"/>
              <a:t>najpoznatiji</a:t>
            </a:r>
            <a:r>
              <a:rPr lang="en-US" sz="1300" dirty="0"/>
              <a:t> je </a:t>
            </a:r>
            <a:r>
              <a:rPr lang="en-US" sz="1300" dirty="0" err="1"/>
              <a:t>kriterijum</a:t>
            </a:r>
            <a:r>
              <a:rPr lang="en-US" sz="1300" dirty="0"/>
              <a:t> </a:t>
            </a:r>
            <a:r>
              <a:rPr lang="en-US" sz="1300" dirty="0" err="1"/>
              <a:t>kvaliteta</a:t>
            </a:r>
            <a:r>
              <a:rPr lang="en-US" sz="1300" dirty="0"/>
              <a:t>, </a:t>
            </a:r>
            <a:r>
              <a:rPr lang="en-US" sz="1300" dirty="0" err="1"/>
              <a:t>sa</a:t>
            </a:r>
            <a:r>
              <a:rPr lang="en-US" sz="1300" dirty="0"/>
              <a:t> </a:t>
            </a:r>
            <a:r>
              <a:rPr lang="en-US" sz="1300" dirty="0" err="1"/>
              <a:t>kojim</a:t>
            </a:r>
            <a:r>
              <a:rPr lang="en-US" sz="1300" dirty="0"/>
              <a:t> je </a:t>
            </a:r>
            <a:r>
              <a:rPr lang="en-US" sz="1300" dirty="0" err="1"/>
              <a:t>upoznato</a:t>
            </a:r>
            <a:r>
              <a:rPr lang="en-US" sz="1300" dirty="0"/>
              <a:t> </a:t>
            </a:r>
            <a:r>
              <a:rPr lang="en-US" sz="1300" dirty="0" err="1"/>
              <a:t>skoro</a:t>
            </a:r>
            <a:r>
              <a:rPr lang="en-US" sz="1300" dirty="0"/>
              <a:t> </a:t>
            </a:r>
            <a:r>
              <a:rPr lang="en-US" sz="1300" dirty="0" err="1"/>
              <a:t>devet</a:t>
            </a:r>
            <a:r>
              <a:rPr lang="en-US" sz="1300" dirty="0"/>
              <a:t> od </a:t>
            </a:r>
            <a:r>
              <a:rPr lang="en-US" sz="1300" dirty="0" err="1"/>
              <a:t>deset</a:t>
            </a:r>
            <a:r>
              <a:rPr lang="en-US" sz="1300" dirty="0"/>
              <a:t> </a:t>
            </a:r>
            <a:r>
              <a:rPr lang="en-US" sz="1300" dirty="0" err="1"/>
              <a:t>naru</a:t>
            </a:r>
            <a:r>
              <a:rPr lang="sr-Latn-RS" sz="1300" dirty="0"/>
              <a:t>č</a:t>
            </a:r>
            <a:r>
              <a:rPr lang="en-US" sz="1300" dirty="0" err="1"/>
              <a:t>ilaca</a:t>
            </a:r>
            <a:r>
              <a:rPr lang="en-US" sz="1300" dirty="0"/>
              <a:t>. </a:t>
            </a:r>
          </a:p>
        </p:txBody>
      </p:sp>
      <p:pic>
        <p:nvPicPr>
          <p:cNvPr id="8" name="Picture 14" descr="Office worker">
            <a:extLst>
              <a:ext uri="{FF2B5EF4-FFF2-40B4-BE49-F238E27FC236}">
                <a16:creationId xmlns:a16="http://schemas.microsoft.com/office/drawing/2014/main" id="{9FF16B29-B8F7-4AE1-B53D-B4D4EC5097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84077" y="57150"/>
            <a:ext cx="559923" cy="559923"/>
          </a:xfrm>
          <a:prstGeom prst="rect">
            <a:avLst/>
          </a:prstGeom>
        </p:spPr>
      </p:pic>
      <p:sp>
        <p:nvSpPr>
          <p:cNvPr id="2" name="Arrow: Right 1">
            <a:extLst>
              <a:ext uri="{FF2B5EF4-FFF2-40B4-BE49-F238E27FC236}">
                <a16:creationId xmlns:a16="http://schemas.microsoft.com/office/drawing/2014/main" id="{D07A2558-6D0F-42D0-9380-A7AD750870CC}"/>
              </a:ext>
            </a:extLst>
          </p:cNvPr>
          <p:cNvSpPr/>
          <p:nvPr/>
        </p:nvSpPr>
        <p:spPr bwMode="gray">
          <a:xfrm>
            <a:off x="381000" y="2800350"/>
            <a:ext cx="978408" cy="484632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8183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8C1457-C3FB-4FDA-BCB6-F86BEA66D4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3788" y="4839387"/>
            <a:ext cx="6197011" cy="138499"/>
          </a:xfrm>
          <a:noFill/>
        </p:spPr>
        <p:txBody>
          <a:bodyPr vert="horz" wrap="square" lIns="48965" tIns="0" rIns="48965" bIns="0" rtlCol="0" anchor="ctr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 b="0" i="1" dirty="0">
                <a:solidFill>
                  <a:schemeClr val="tx1"/>
                </a:solidFill>
              </a:rPr>
              <a:t>Koliko </a:t>
            </a:r>
            <a:r>
              <a:rPr lang="en-US" sz="900" b="0" i="1" dirty="0" err="1">
                <a:solidFill>
                  <a:schemeClr val="tx1"/>
                </a:solidFill>
              </a:rPr>
              <a:t>češto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primenjujete</a:t>
            </a:r>
            <a:r>
              <a:rPr lang="en-US" sz="900" b="0" i="1" dirty="0">
                <a:solidFill>
                  <a:schemeClr val="tx1"/>
                </a:solidFill>
              </a:rPr>
              <a:t> date </a:t>
            </a:r>
            <a:r>
              <a:rPr lang="en-US" sz="900" b="0" i="1" dirty="0" err="1">
                <a:solidFill>
                  <a:schemeClr val="tx1"/>
                </a:solidFill>
              </a:rPr>
              <a:t>kriterijume</a:t>
            </a:r>
            <a:r>
              <a:rPr lang="en-US" sz="900" b="0" i="1" dirty="0">
                <a:solidFill>
                  <a:schemeClr val="tx1"/>
                </a:solidFill>
              </a:rPr>
              <a:t> za </a:t>
            </a:r>
            <a:r>
              <a:rPr lang="en-US" sz="900" b="0" i="1" dirty="0" err="1">
                <a:solidFill>
                  <a:schemeClr val="tx1"/>
                </a:solidFill>
              </a:rPr>
              <a:t>ocen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ponuda</a:t>
            </a:r>
            <a:r>
              <a:rPr lang="en-US" sz="900" b="0" i="1" dirty="0">
                <a:solidFill>
                  <a:schemeClr val="tx1"/>
                </a:solidFill>
              </a:rPr>
              <a:t> u </a:t>
            </a:r>
            <a:r>
              <a:rPr lang="en-US" sz="900" b="0" i="1" dirty="0" err="1">
                <a:solidFill>
                  <a:schemeClr val="tx1"/>
                </a:solidFill>
              </a:rPr>
              <a:t>okviru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procesa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javnih</a:t>
            </a:r>
            <a:r>
              <a:rPr lang="en-US" sz="900" b="0" i="1" dirty="0">
                <a:solidFill>
                  <a:schemeClr val="tx1"/>
                </a:solidFill>
              </a:rPr>
              <a:t> </a:t>
            </a:r>
            <a:r>
              <a:rPr lang="en-US" sz="900" b="0" i="1" dirty="0" err="1">
                <a:solidFill>
                  <a:schemeClr val="tx1"/>
                </a:solidFill>
              </a:rPr>
              <a:t>nabavki</a:t>
            </a:r>
            <a:r>
              <a:rPr lang="en-US" sz="900" b="0" i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24DD682-DB2E-452E-8E1E-A29DE5F2E7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2" y="240665"/>
            <a:ext cx="8305798" cy="346284"/>
          </a:xfrm>
          <a:solidFill>
            <a:srgbClr val="DA9E11"/>
          </a:solidFill>
        </p:spPr>
        <p:txBody>
          <a:bodyPr wrap="square" lIns="56319" tIns="12241" rIns="56319" bIns="12241" rtlCol="0" anchor="ctr">
            <a:spAutoFit/>
          </a:bodyPr>
          <a:lstStyle/>
          <a:p>
            <a:r>
              <a:rPr lang="sr-Latn-RS" sz="1800" dirty="0"/>
              <a:t>Primena kriterijumima za ocenu ponuda u okviru procesa javnih nabavki</a:t>
            </a:r>
            <a:endParaRPr lang="en-US" sz="1800" dirty="0">
              <a:highlight>
                <a:srgbClr val="FFFF00"/>
              </a:highligh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754BF5-27FB-49C8-A78A-5FC8B642A146}"/>
              </a:ext>
            </a:extLst>
          </p:cNvPr>
          <p:cNvSpPr txBox="1"/>
          <p:nvPr/>
        </p:nvSpPr>
        <p:spPr bwMode="gray">
          <a:xfrm>
            <a:off x="5992546" y="4857750"/>
            <a:ext cx="3124200" cy="138499"/>
          </a:xfrm>
          <a:prstGeom prst="rect">
            <a:avLst/>
          </a:prstGeom>
          <a:noFill/>
        </p:spPr>
        <p:txBody>
          <a:bodyPr vert="horz" wrap="square" lIns="48965" tIns="0" rIns="48965" bIns="0" rtlCol="0" anchor="ctr">
            <a:spAutoFit/>
          </a:bodyPr>
          <a:lstStyle>
            <a:defPPr>
              <a:defRPr lang="en-US"/>
            </a:defPPr>
            <a:lvl1pPr indent="0" defTabSz="71526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Tx/>
              <a:buNone/>
              <a:defRPr sz="900" b="0" i="1"/>
            </a:lvl1pPr>
            <a:lvl2pPr marL="581156" indent="-223521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900"/>
            </a:lvl2pPr>
            <a:lvl3pPr marL="894087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600"/>
            </a:lvl3pPr>
            <a:lvl4pPr marL="1251722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4pPr>
            <a:lvl5pPr marL="1609356" indent="-178817" defTabSz="715269">
              <a:lnSpc>
                <a:spcPct val="110000"/>
              </a:lnSpc>
              <a:spcBef>
                <a:spcPts val="408"/>
              </a:spcBef>
              <a:spcAft>
                <a:spcPts val="408"/>
              </a:spcAft>
              <a:buClr>
                <a:schemeClr val="bg2"/>
              </a:buClr>
              <a:buFont typeface="Geomanist Light" pitchFamily="50" charset="0"/>
              <a:buChar char="–"/>
              <a:defRPr sz="1400"/>
            </a:lvl5pPr>
            <a:lvl6pPr marL="1966991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6pPr>
            <a:lvl7pPr marL="2324626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7pPr>
            <a:lvl8pPr marL="2682260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8pPr>
            <a:lvl9pPr marL="3039895" indent="-178817" defTabSz="715269">
              <a:spcBef>
                <a:spcPct val="20000"/>
              </a:spcBef>
              <a:buFont typeface="Arial" panose="020B0604020202020204" pitchFamily="34" charset="0"/>
              <a:buChar char="•"/>
              <a:defRPr sz="1600"/>
            </a:lvl9pPr>
          </a:lstStyle>
          <a:p>
            <a:r>
              <a:rPr lang="sr-Latn-RS" i="0" dirty="0"/>
              <a:t>Baza: </a:t>
            </a:r>
            <a:r>
              <a:rPr lang="en-US" i="0" dirty="0" err="1"/>
              <a:t>Naru</a:t>
            </a:r>
            <a:r>
              <a:rPr lang="sr-Latn-RS" i="0" dirty="0"/>
              <a:t>čioci koji nisu odgovorili </a:t>
            </a:r>
            <a:r>
              <a:rPr lang="sr-Latn-RS" dirty="0"/>
              <a:t>nimalo</a:t>
            </a:r>
            <a:r>
              <a:rPr lang="sr-Latn-RS" i="0" dirty="0"/>
              <a:t> za dati kriterijum </a:t>
            </a:r>
            <a:endParaRPr lang="en-US" i="0" dirty="0"/>
          </a:p>
        </p:txBody>
      </p:sp>
      <p:graphicFrame>
        <p:nvGraphicFramePr>
          <p:cNvPr id="11" name="Content Placeholder 6">
            <a:extLst>
              <a:ext uri="{FF2B5EF4-FFF2-40B4-BE49-F238E27FC236}">
                <a16:creationId xmlns:a16="http://schemas.microsoft.com/office/drawing/2014/main" id="{4E41FC0C-C512-476F-9726-1CD8305649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8368782"/>
              </p:ext>
            </p:extLst>
          </p:nvPr>
        </p:nvGraphicFramePr>
        <p:xfrm>
          <a:off x="203789" y="1398279"/>
          <a:ext cx="8711611" cy="3307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9673761-C94D-4B45-8F02-AF02CE048699}"/>
              </a:ext>
            </a:extLst>
          </p:cNvPr>
          <p:cNvSpPr txBox="1"/>
          <p:nvPr/>
        </p:nvSpPr>
        <p:spPr>
          <a:xfrm>
            <a:off x="228600" y="819150"/>
            <a:ext cx="8686800" cy="5732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0000" tIns="0" rIns="90000" bIns="0" rtlCol="0" anchor="ctr">
            <a:normAutofit/>
          </a:bodyPr>
          <a:lstStyle>
            <a:defPPr>
              <a:defRPr lang="en-US"/>
            </a:defPPr>
            <a:lvl1pPr algn="just" defTabSz="1051802">
              <a:defRPr sz="1400"/>
            </a:lvl1pPr>
            <a:lvl2pPr marL="525902" defTabSz="1051802">
              <a:defRPr sz="2100"/>
            </a:lvl2pPr>
            <a:lvl3pPr marL="1051802" defTabSz="1051802">
              <a:defRPr sz="2100"/>
            </a:lvl3pPr>
            <a:lvl4pPr marL="1577704" defTabSz="1051802">
              <a:defRPr sz="2100"/>
            </a:lvl4pPr>
            <a:lvl5pPr marL="2103606" defTabSz="1051802">
              <a:defRPr sz="2100"/>
            </a:lvl5pPr>
            <a:lvl6pPr marL="2629507" defTabSz="1051802">
              <a:defRPr sz="2100"/>
            </a:lvl6pPr>
            <a:lvl7pPr marL="3155408" defTabSz="1051802">
              <a:defRPr sz="2100"/>
            </a:lvl7pPr>
            <a:lvl8pPr marL="3681310" defTabSz="1051802">
              <a:defRPr sz="2100"/>
            </a:lvl8pPr>
            <a:lvl9pPr marL="4207211" defTabSz="1051802">
              <a:defRPr sz="2100"/>
            </a:lvl9pPr>
          </a:lstStyle>
          <a:p>
            <a:r>
              <a:rPr lang="en-US" sz="1300" dirty="0" err="1"/>
              <a:t>Ipak</a:t>
            </a:r>
            <a:r>
              <a:rPr lang="en-US" sz="1300" dirty="0"/>
              <a:t>, </a:t>
            </a:r>
            <a:r>
              <a:rPr lang="sr-Latn-RS" sz="1300" dirty="0"/>
              <a:t>tek  trećina naručilaca koji su barem malo upoznati ekološkim kriterijumima kaže da primenjuje ovaj kriterijum uvek ili često, dok se ostali kriterijumi primenjuju još ređe, osim kriterijuma kvaliteta</a:t>
            </a:r>
            <a:endParaRPr lang="en-US" sz="1300" dirty="0"/>
          </a:p>
        </p:txBody>
      </p:sp>
      <p:pic>
        <p:nvPicPr>
          <p:cNvPr id="8" name="Picture 14" descr="Office worker">
            <a:extLst>
              <a:ext uri="{FF2B5EF4-FFF2-40B4-BE49-F238E27FC236}">
                <a16:creationId xmlns:a16="http://schemas.microsoft.com/office/drawing/2014/main" id="{2ACC1C55-54C9-4BAD-B6D3-162991A732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579723" y="57150"/>
            <a:ext cx="559923" cy="559923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BCF127A1-BFA6-45D7-A2B6-F006AC96B0E3}"/>
              </a:ext>
            </a:extLst>
          </p:cNvPr>
          <p:cNvSpPr/>
          <p:nvPr/>
        </p:nvSpPr>
        <p:spPr bwMode="gray">
          <a:xfrm>
            <a:off x="545592" y="2414816"/>
            <a:ext cx="978408" cy="484632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15232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heme/theme1.xml><?xml version="1.0" encoding="utf-8"?>
<a:theme xmlns:a="http://schemas.openxmlformats.org/drawingml/2006/main" name="3__Public_Affairs_16-9 widescreen_ Ipsos Template (2016)">
  <a:themeElements>
    <a:clrScheme name="_Ipsos_Black_(Modern)">
      <a:dk1>
        <a:srgbClr val="222223"/>
      </a:dk1>
      <a:lt1>
        <a:sysClr val="window" lastClr="FFFFFF"/>
      </a:lt1>
      <a:dk2>
        <a:srgbClr val="888B8D"/>
      </a:dk2>
      <a:lt2>
        <a:srgbClr val="222223"/>
      </a:lt2>
      <a:accent1>
        <a:srgbClr val="F1BE48"/>
      </a:accent1>
      <a:accent2>
        <a:srgbClr val="888B8D"/>
      </a:accent2>
      <a:accent3>
        <a:srgbClr val="FF585D"/>
      </a:accent3>
      <a:accent4>
        <a:srgbClr val="71B2C9"/>
      </a:accent4>
      <a:accent5>
        <a:srgbClr val="C8C9C7"/>
      </a:accent5>
      <a:accent6>
        <a:srgbClr val="74AA50"/>
      </a:accent6>
      <a:hlink>
        <a:srgbClr val="485CC7"/>
      </a:hlink>
      <a:folHlink>
        <a:srgbClr val="00B2A9"/>
      </a:folHlink>
    </a:clrScheme>
    <a:fontScheme name="_Ipsos_Presentation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_Public_Affairs_16-9 widescreen_ Ipsos Template (2016)_v1.potx" id="{D2CDBA0F-6E6C-43A6-9B5B-F5A81A4553DF}" vid="{9DB46285-9EDF-4E3F-817C-D72498801A47}"/>
    </a:ext>
  </a:extLst>
</a:theme>
</file>

<file path=ppt/theme/theme2.xml><?xml version="1.0" encoding="utf-8"?>
<a:theme xmlns:a="http://schemas.openxmlformats.org/drawingml/2006/main" name="1_PPT Template - Ipsos Public Affairs">
  <a:themeElements>
    <a:clrScheme name="IpsosCURRENT">
      <a:dk1>
        <a:srgbClr val="222223"/>
      </a:dk1>
      <a:lt1>
        <a:sysClr val="window" lastClr="FFFFFF"/>
      </a:lt1>
      <a:dk2>
        <a:srgbClr val="1B365D"/>
      </a:dk2>
      <a:lt2>
        <a:srgbClr val="888B8D"/>
      </a:lt2>
      <a:accent1>
        <a:srgbClr val="E87722"/>
      </a:accent1>
      <a:accent2>
        <a:srgbClr val="F1BE48"/>
      </a:accent2>
      <a:accent3>
        <a:srgbClr val="B7BF12"/>
      </a:accent3>
      <a:accent4>
        <a:srgbClr val="C8C9C7"/>
      </a:accent4>
      <a:accent5>
        <a:srgbClr val="71B2C9"/>
      </a:accent5>
      <a:accent6>
        <a:srgbClr val="007681"/>
      </a:accent6>
      <a:hlink>
        <a:srgbClr val="485CC7"/>
      </a:hlink>
      <a:folHlink>
        <a:srgbClr val="00B2A9"/>
      </a:folHlink>
    </a:clrScheme>
    <a:fontScheme name="Ipsos MO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bg2"/>
          </a:solidFill>
          <a:round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/>
      <a:bodyPr vert="horz" wrap="square" lIns="0" tIns="0" rIns="0" bIns="0" rtlCol="0">
        <a:spAutoFit/>
      </a:bodyPr>
      <a:lstStyle>
        <a:defPPr marL="4763">
          <a:defRPr sz="11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364F0FEA3A894EB58C6D2880EEF625" ma:contentTypeVersion="13" ma:contentTypeDescription="Create a new document." ma:contentTypeScope="" ma:versionID="85806e9424fe712817cda7cf4ada6a26">
  <xsd:schema xmlns:xsd="http://www.w3.org/2001/XMLSchema" xmlns:xs="http://www.w3.org/2001/XMLSchema" xmlns:p="http://schemas.microsoft.com/office/2006/metadata/properties" xmlns:ns3="5e5870df-7dda-4b84-a06d-bd288cb84e1c" xmlns:ns4="1ad99d6c-9c29-4083-bc6e-88c35d568a9b" targetNamespace="http://schemas.microsoft.com/office/2006/metadata/properties" ma:root="true" ma:fieldsID="f4b55ead50e10d3e5d2860b78bead7bb" ns3:_="" ns4:_="">
    <xsd:import namespace="5e5870df-7dda-4b84-a06d-bd288cb84e1c"/>
    <xsd:import namespace="1ad99d6c-9c29-4083-bc6e-88c35d568a9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5870df-7dda-4b84-a06d-bd288cb84e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d99d6c-9c29-4083-bc6e-88c35d568a9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A177A04-8F81-4F52-824A-26BB7349DE51}">
  <ds:schemaRefs>
    <ds:schemaRef ds:uri="http://schemas.microsoft.com/office/2006/documentManagement/types"/>
    <ds:schemaRef ds:uri="http://schemas.microsoft.com/office/infopath/2007/PartnerControls"/>
    <ds:schemaRef ds:uri="1ad99d6c-9c29-4083-bc6e-88c35d568a9b"/>
    <ds:schemaRef ds:uri="http://purl.org/dc/elements/1.1/"/>
    <ds:schemaRef ds:uri="http://schemas.microsoft.com/office/2006/metadata/properties"/>
    <ds:schemaRef ds:uri="http://purl.org/dc/terms/"/>
    <ds:schemaRef ds:uri="5e5870df-7dda-4b84-a06d-bd288cb84e1c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32E9919-AA3A-4B7B-A912-EB175176D4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5870df-7dda-4b84-a06d-bd288cb84e1c"/>
    <ds:schemaRef ds:uri="1ad99d6c-9c29-4083-bc6e-88c35d568a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DE0B60-8564-41A7-966F-BCABFAE3D9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15</TotalTime>
  <Words>2319</Words>
  <Application>Microsoft Office PowerPoint</Application>
  <PresentationFormat>On-screen Show (16:9)</PresentationFormat>
  <Paragraphs>213</Paragraphs>
  <Slides>3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7" baseType="lpstr">
      <vt:lpstr>Arial</vt:lpstr>
      <vt:lpstr>Arial Black</vt:lpstr>
      <vt:lpstr>Calibri</vt:lpstr>
      <vt:lpstr>Candara</vt:lpstr>
      <vt:lpstr>Geomanist Light</vt:lpstr>
      <vt:lpstr>HelveticaNeueLT Std Lt Cn</vt:lpstr>
      <vt:lpstr>Segoe UI</vt:lpstr>
      <vt:lpstr>Segoe UI Light</vt:lpstr>
      <vt:lpstr>Times New Roman</vt:lpstr>
      <vt:lpstr>Wingdings</vt:lpstr>
      <vt:lpstr>3__Public_Affairs_16-9 widescreen_ Ipsos Template (2016)</vt:lpstr>
      <vt:lpstr>1_PPT Template - Ipsos Public Affairs</vt:lpstr>
      <vt:lpstr>1_IPSOS - Classical Template - 16x9</vt:lpstr>
      <vt:lpstr>Diapositive think-cell</vt:lpstr>
      <vt:lpstr>PowerPoint Presentation</vt:lpstr>
      <vt:lpstr>PowerPoint Presentation</vt:lpstr>
      <vt:lpstr>PowerPoint Presentation</vt:lpstr>
      <vt:lpstr>GRAĐANI: Struktura uzorka*</vt:lpstr>
      <vt:lpstr>PONUĐAČI: Struktura uzorka*</vt:lpstr>
      <vt:lpstr>NARUČIOCI: Struktura uzorka</vt:lpstr>
      <vt:lpstr>Upoznatost i primena kriterijumima - Naručioci</vt:lpstr>
      <vt:lpstr>Upoznatost naručilaca sa kriterijumima u vezi postupka javnih nabavki</vt:lpstr>
      <vt:lpstr>Primena kriterijumima za ocenu ponuda u okviru procesa javnih nabavki</vt:lpstr>
      <vt:lpstr>VAŽNOST EKOLOŠKIH KRITERIJUM – Ponuđači i Građani</vt:lpstr>
      <vt:lpstr>Važnost kriterijuma za nabavku dobara ili usluga</vt:lpstr>
      <vt:lpstr>Najvažniji kriterijumi za nabavku dobara ili usluga</vt:lpstr>
      <vt:lpstr>Oblasti u koje treba najviše ulagati kroz javne nabavk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Bojcevska</dc:creator>
  <cp:lastModifiedBy>Danilo Radicevic</cp:lastModifiedBy>
  <cp:revision>2236</cp:revision>
  <dcterms:created xsi:type="dcterms:W3CDTF">2018-10-19T16:08:17Z</dcterms:created>
  <dcterms:modified xsi:type="dcterms:W3CDTF">2021-07-29T11:2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364F0FEA3A894EB58C6D2880EEF625</vt:lpwstr>
  </property>
</Properties>
</file>